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3.xml" ContentType="application/vnd.openxmlformats-officedocument.theme+xml"/>
  <Override PartName="/ppt/slideLayouts/slideLayout67.xml" ContentType="application/vnd.openxmlformats-officedocument.presentationml.slideLayout+xml"/>
  <Override PartName="/ppt/theme/theme4.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5.xml" ContentType="application/vnd.openxmlformats-officedocument.theme+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6.xml" ContentType="application/vnd.openxmlformats-officedocument.theme+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7.xml" ContentType="application/vnd.openxmlformats-officedocument.theme+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8.xml" ContentType="application/vnd.openxmlformats-officedocument.them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9.xml" ContentType="application/vnd.openxmlformats-officedocument.theme+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10.xml" ContentType="application/vnd.openxmlformats-officedocument.theme+xml"/>
  <Override PartName="/ppt/tags/tag1.xml" ContentType="application/vnd.openxmlformats-officedocument.presentationml.tags+xml"/>
  <Override PartName="/ppt/theme/theme11.xml" ContentType="application/vnd.openxmlformats-officedocument.theme+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theme/theme12.xml" ContentType="application/vnd.openxmlformats-officedocument.theme+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theme/theme13.xml" ContentType="application/vnd.openxmlformats-officedocument.theme+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theme/theme14.xml" ContentType="application/vnd.openxmlformats-officedocument.theme+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theme/theme15.xml" ContentType="application/vnd.openxmlformats-officedocument.theme+xml"/>
  <Override PartName="/ppt/theme/theme16.xml" ContentType="application/vnd.openxmlformats-officedocument.theme+xml"/>
  <Override PartName="/ppt/theme/theme1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9" r:id="rId4"/>
    <p:sldMasterId id="2147484653" r:id="rId5"/>
    <p:sldMasterId id="2147484677" r:id="rId6"/>
    <p:sldMasterId id="2147484696" r:id="rId7"/>
    <p:sldMasterId id="2147484700" r:id="rId8"/>
    <p:sldMasterId id="2147484719" r:id="rId9"/>
    <p:sldMasterId id="2147484748" r:id="rId10"/>
    <p:sldMasterId id="2147484758" r:id="rId11"/>
    <p:sldMasterId id="2147484767" r:id="rId12"/>
    <p:sldMasterId id="2147484790" r:id="rId13"/>
    <p:sldMasterId id="2147484806" r:id="rId14"/>
    <p:sldMasterId id="2147484833" r:id="rId15"/>
    <p:sldMasterId id="2147484881" r:id="rId16"/>
    <p:sldMasterId id="2147484911" r:id="rId17"/>
    <p:sldMasterId id="2147484940" r:id="rId18"/>
  </p:sldMasterIdLst>
  <p:notesMasterIdLst>
    <p:notesMasterId r:id="rId35"/>
  </p:notesMasterIdLst>
  <p:handoutMasterIdLst>
    <p:handoutMasterId r:id="rId36"/>
  </p:handoutMasterIdLst>
  <p:sldIdLst>
    <p:sldId id="3447" r:id="rId19"/>
    <p:sldId id="3370" r:id="rId20"/>
    <p:sldId id="3360" r:id="rId21"/>
    <p:sldId id="3397" r:id="rId22"/>
    <p:sldId id="3398" r:id="rId23"/>
    <p:sldId id="3399" r:id="rId24"/>
    <p:sldId id="3400" r:id="rId25"/>
    <p:sldId id="3401" r:id="rId26"/>
    <p:sldId id="3402" r:id="rId27"/>
    <p:sldId id="3403" r:id="rId28"/>
    <p:sldId id="3404" r:id="rId29"/>
    <p:sldId id="3405" r:id="rId30"/>
    <p:sldId id="3406" r:id="rId31"/>
    <p:sldId id="3407" r:id="rId32"/>
    <p:sldId id="3411" r:id="rId33"/>
    <p:sldId id="1532" r:id="rId34"/>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8" clrIdx="3">
    <p:extLst>
      <p:ext uri="{19B8F6BF-5375-455C-9EA6-DF929625EA0E}">
        <p15:presenceInfo xmlns:p15="http://schemas.microsoft.com/office/powerpoint/2012/main" userId="S-1-5-21-2127521184-1604012920-1887927527-650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80000"/>
    <a:srgbClr val="FFFFFF"/>
    <a:srgbClr val="0D0D0D"/>
    <a:srgbClr val="232323"/>
    <a:srgbClr val="1A1A1A"/>
    <a:srgbClr val="0078D4"/>
    <a:srgbClr val="107C10"/>
    <a:srgbClr val="EAEAEA"/>
    <a:srgbClr val="004B50"/>
    <a:srgbClr val="00827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CCE800F-978D-4E3F-868E-D72E2A94F411}" v="4" dt="2018-11-26T22:02:50.51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1075" autoAdjust="0"/>
    <p:restoredTop sz="62699" autoAdjust="0"/>
  </p:normalViewPr>
  <p:slideViewPr>
    <p:cSldViewPr snapToGrid="0">
      <p:cViewPr varScale="1">
        <p:scale>
          <a:sx n="56" d="100"/>
          <a:sy n="56" d="100"/>
        </p:scale>
        <p:origin x="42" y="288"/>
      </p:cViewPr>
      <p:guideLst/>
    </p:cSldViewPr>
  </p:slideViewPr>
  <p:outlineViewPr>
    <p:cViewPr>
      <p:scale>
        <a:sx n="33" d="100"/>
        <a:sy n="33" d="100"/>
      </p:scale>
      <p:origin x="0" y="-6516"/>
    </p:cViewPr>
  </p:outlineViewPr>
  <p:notesTextViewPr>
    <p:cViewPr>
      <p:scale>
        <a:sx n="3" d="2"/>
        <a:sy n="3" d="2"/>
      </p:scale>
      <p:origin x="0" y="0"/>
    </p:cViewPr>
  </p:notesTextViewPr>
  <p:sorterViewPr>
    <p:cViewPr varScale="1">
      <p:scale>
        <a:sx n="100" d="100"/>
        <a:sy n="100" d="100"/>
      </p:scale>
      <p:origin x="0" y="0"/>
    </p:cViewPr>
  </p:sorterViewPr>
  <p:notesViewPr>
    <p:cSldViewPr snapToGrid="0" showGuides="1">
      <p:cViewPr varScale="1">
        <p:scale>
          <a:sx n="75" d="100"/>
          <a:sy n="75" d="100"/>
        </p:scale>
        <p:origin x="2766" y="3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8.xml"/><Relationship Id="rId39"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3.xml"/><Relationship Id="rId34" Type="http://schemas.openxmlformats.org/officeDocument/2006/relationships/slide" Target="slides/slide16.xml"/><Relationship Id="rId42" Type="http://schemas.microsoft.com/office/2016/11/relationships/changesInfo" Target="changesInfos/changesInfo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7.xml"/><Relationship Id="rId33" Type="http://schemas.openxmlformats.org/officeDocument/2006/relationships/slide" Target="slides/slide15.xml"/><Relationship Id="rId3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 Target="slides/slide2.xml"/><Relationship Id="rId29" Type="http://schemas.openxmlformats.org/officeDocument/2006/relationships/slide" Target="slides/slide11.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6.xml"/><Relationship Id="rId32" Type="http://schemas.openxmlformats.org/officeDocument/2006/relationships/slide" Target="slides/slide14.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handoutMaster" Target="handoutMasters/handoutMaster1.xml"/><Relationship Id="rId10" Type="http://schemas.openxmlformats.org/officeDocument/2006/relationships/slideMaster" Target="slideMasters/slideMaster7.xml"/><Relationship Id="rId19" Type="http://schemas.openxmlformats.org/officeDocument/2006/relationships/slide" Target="slides/slide1.xml"/><Relationship Id="rId31"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4.xml"/><Relationship Id="rId27" Type="http://schemas.openxmlformats.org/officeDocument/2006/relationships/slide" Target="slides/slide9.xml"/><Relationship Id="rId30" Type="http://schemas.openxmlformats.org/officeDocument/2006/relationships/slide" Target="slides/slide12.xml"/><Relationship Id="rId35" Type="http://schemas.openxmlformats.org/officeDocument/2006/relationships/notesMaster" Target="notesMasters/notesMaster1.xml"/><Relationship Id="rId43"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na Thomas" userId="5d003f33-6e3f-406c-b398-0eb1113638fb" providerId="ADAL" clId="{6CCE800F-978D-4E3F-868E-D72E2A94F411}"/>
    <pc:docChg chg="custSel delSld modSld">
      <pc:chgData name="Anna Thomas" userId="5d003f33-6e3f-406c-b398-0eb1113638fb" providerId="ADAL" clId="{6CCE800F-978D-4E3F-868E-D72E2A94F411}" dt="2018-11-26T22:03:04.034" v="123" actId="20577"/>
      <pc:docMkLst>
        <pc:docMk/>
      </pc:docMkLst>
      <pc:sldChg chg="modSp">
        <pc:chgData name="Anna Thomas" userId="5d003f33-6e3f-406c-b398-0eb1113638fb" providerId="ADAL" clId="{6CCE800F-978D-4E3F-868E-D72E2A94F411}" dt="2018-11-26T22:01:58.038" v="40" actId="20577"/>
        <pc:sldMkLst>
          <pc:docMk/>
          <pc:sldMk cId="3713008051" sldId="3360"/>
        </pc:sldMkLst>
        <pc:spChg chg="mod">
          <ac:chgData name="Anna Thomas" userId="5d003f33-6e3f-406c-b398-0eb1113638fb" providerId="ADAL" clId="{6CCE800F-978D-4E3F-868E-D72E2A94F411}" dt="2018-11-26T22:01:58.038" v="40" actId="20577"/>
          <ac:spMkLst>
            <pc:docMk/>
            <pc:sldMk cId="3713008051" sldId="3360"/>
            <ac:spMk id="4" creationId="{536D50BC-671A-477C-B0D1-C0159617D4FB}"/>
          </ac:spMkLst>
        </pc:spChg>
      </pc:sldChg>
      <pc:sldChg chg="del">
        <pc:chgData name="Anna Thomas" userId="5d003f33-6e3f-406c-b398-0eb1113638fb" providerId="ADAL" clId="{6CCE800F-978D-4E3F-868E-D72E2A94F411}" dt="2018-11-26T22:02:03.251" v="41" actId="2696"/>
        <pc:sldMkLst>
          <pc:docMk/>
          <pc:sldMk cId="874269837" sldId="3408"/>
        </pc:sldMkLst>
      </pc:sldChg>
      <pc:sldChg chg="del">
        <pc:chgData name="Anna Thomas" userId="5d003f33-6e3f-406c-b398-0eb1113638fb" providerId="ADAL" clId="{6CCE800F-978D-4E3F-868E-D72E2A94F411}" dt="2018-11-26T22:01:47.247" v="0" actId="2696"/>
        <pc:sldMkLst>
          <pc:docMk/>
          <pc:sldMk cId="408012782" sldId="3409"/>
        </pc:sldMkLst>
      </pc:sldChg>
      <pc:sldChg chg="modSp">
        <pc:chgData name="Anna Thomas" userId="5d003f33-6e3f-406c-b398-0eb1113638fb" providerId="ADAL" clId="{6CCE800F-978D-4E3F-868E-D72E2A94F411}" dt="2018-11-26T22:03:04.034" v="123" actId="20577"/>
        <pc:sldMkLst>
          <pc:docMk/>
          <pc:sldMk cId="1897394134" sldId="3411"/>
        </pc:sldMkLst>
        <pc:spChg chg="mod">
          <ac:chgData name="Anna Thomas" userId="5d003f33-6e3f-406c-b398-0eb1113638fb" providerId="ADAL" clId="{6CCE800F-978D-4E3F-868E-D72E2A94F411}" dt="2018-11-26T22:03:04.034" v="123" actId="20577"/>
          <ac:spMkLst>
            <pc:docMk/>
            <pc:sldMk cId="1897394134" sldId="3411"/>
            <ac:spMk id="2" creationId="{00000000-0000-0000-0000-000000000000}"/>
          </ac:spMkLst>
        </pc:spChg>
      </pc:sldChg>
    </pc:docChg>
  </pc:docChgLst>
  <pc:docChgLst>
    <pc:chgData name="Anna Thomas" userId="5d003f33-6e3f-406c-b398-0eb1113638fb" providerId="ADAL" clId="{57CEE5C4-EC51-4395-8C99-9577005BD369}"/>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3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11/26/2018 2:01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11/26/2018 2:01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Light"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E: The green and purple slides are for information only, not to be shown in any videos</a:t>
            </a: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6/2018 2:0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443097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a:t>Train your model: https://docs.microsoft.com/en-us/azure/cognitive-services/luis/luis-how-to-train</a:t>
            </a:r>
          </a:p>
          <a:p>
            <a:pPr marL="228600" indent="-228600">
              <a:buAutoNum type="arabicPeriod"/>
            </a:pPr>
            <a:r>
              <a:rPr lang="en-US" dirty="0"/>
              <a:t>Interactive testing: https://docs.microsoft.com/en-us/azure/cognitive-services/luis/train-test</a:t>
            </a:r>
          </a:p>
          <a:p>
            <a:pPr marL="228600" indent="-228600">
              <a:buAutoNum type="arabicPeriod"/>
            </a:pPr>
            <a:r>
              <a:rPr lang="en-US" dirty="0"/>
              <a:t>Batch testing: https://docs.microsoft.com/en-us/azure/cognitive-services/luis/luis-how-to-batch-test</a:t>
            </a: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6/2018 2:01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16272251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 Publish your model: https://docs.microsoft.com/en-us/azure/cognitive-services/luis/publishapp</a:t>
            </a: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6/2018 2:01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65911989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a:t>Add features: https://docs.microsoft.com/en-us/azure/cognitive-services/luis/add-features</a:t>
            </a:r>
          </a:p>
          <a:p>
            <a:pPr marL="228600" indent="-228600">
              <a:buAutoNum type="arabicPeriod"/>
            </a:pPr>
            <a:r>
              <a:rPr lang="en-US" dirty="0"/>
              <a:t>10 phrase list must-haves blog: https://blogs.msdn.microsoft.com/benjaminperkins/2016/12/07/top-10-must-have-phrase-list-features-for-your-chatbot-or-any-bot-luis/</a:t>
            </a: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6/2018 2:01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89612001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a:t>Authoring cycle: https://docs.microsoft.com/en-us/azure/cognitive-services/luis/luis-concept-app-iteration</a:t>
            </a:r>
          </a:p>
          <a:p>
            <a:pPr marL="228600" indent="-228600">
              <a:buAutoNum type="arabicPeriod"/>
            </a:pPr>
            <a:r>
              <a:rPr lang="en-US" dirty="0"/>
              <a:t>Label endpoint utterances: https://docs.microsoft.com/en-us/azure/cognitive-services/luis/label-suggested-utterances</a:t>
            </a:r>
          </a:p>
          <a:p>
            <a:pPr marL="228600" indent="-228600">
              <a:buAutoNum type="arabicPeriod"/>
            </a:pPr>
            <a:endParaRPr lang="en-US" dirty="0"/>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6/2018 2:01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63766300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a:t>Authoring cycle: https://docs.microsoft.com/en-us/azure/cognitive-services/luis/luis-concept-app-iteration</a:t>
            </a:r>
          </a:p>
          <a:p>
            <a:pPr marL="228600" indent="-228600">
              <a:buAutoNum type="arabicPeriod"/>
            </a:pPr>
            <a:r>
              <a:rPr lang="en-US" dirty="0"/>
              <a:t>Label endpoint utterances: https://docs.microsoft.com/en-us/azure/cognitive-services/luis/label-suggested-utterances</a:t>
            </a:r>
          </a:p>
          <a:p>
            <a:pPr marL="228600" indent="-228600">
              <a:buAutoNum type="arabicPeriod"/>
            </a:pPr>
            <a:endParaRPr lang="en-US" dirty="0"/>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6/2018 2:01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36658789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6/2018 2:0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5357986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0ECFDC7D-F4BE-4668-920D-08874925A5D7}" type="datetime8">
              <a:rPr lang="en-US" smtClean="0">
                <a:solidFill>
                  <a:prstClr val="black"/>
                </a:solidFill>
              </a:rPr>
              <a:t>11/26/2018 2:01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16</a:t>
            </a:fld>
            <a:endParaRPr lang="en-US" dirty="0">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1855107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26/2018 2:0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472899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6CE63F-9E7F-4C04-9D0D-FCA25A8E9E86}" type="datetime8">
              <a:rPr lang="en-US" smtClean="0"/>
              <a:t>11/26/2018 2:01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8873824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will go quickly through these slides, as it should be mostly a review of yesterday</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FAA446-E61B-4D43-A3B1-7749AA6DC131}"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6/2018 2:01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110634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a:t>Understanding NLU Stanford presentation: https://nlp.stanford.edu/~wcmac/papers/20140716-UNLU.pdf</a:t>
            </a:r>
          </a:p>
          <a:p>
            <a:pPr marL="228600" indent="-228600">
              <a:buAutoNum type="arabicPeriod"/>
            </a:pPr>
            <a:r>
              <a:rPr lang="en-US" dirty="0"/>
              <a:t>Wikipedia: https://en.wikipedia.org/wiki/Natural_language_understanding</a:t>
            </a:r>
          </a:p>
          <a:p>
            <a:pPr marL="228600" indent="-228600">
              <a:buAutoNum type="arabicPeriod"/>
            </a:pPr>
            <a:r>
              <a:rPr lang="en-US" dirty="0"/>
              <a:t>Why chatbots won’t survive without NLU: https://chatbotsmagazine.com/why-chatbots-wont-survive-without-nlu-df3670e911c5</a:t>
            </a:r>
          </a:p>
          <a:p>
            <a:pPr marL="228600" indent="-228600">
              <a:buAutoNum type="arabicPeriod"/>
            </a:pPr>
            <a:endParaRPr lang="en-US" dirty="0"/>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6/2018 2:01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40377942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a:t>LUIS whitepaper: https://www.microsoft.com/en-us/research/wp-content/uploads/2016/02/sigdial2015demo</a:t>
            </a:r>
            <a:r>
              <a:rPr lang="en-US"/>
              <a:t>.pdf</a:t>
            </a:r>
          </a:p>
          <a:p>
            <a:pPr marL="228600" indent="-228600">
              <a:buAutoNum type="arabicPeriod"/>
            </a:pPr>
            <a:r>
              <a:rPr lang="en-US"/>
              <a:t>https://www.luis.ai/</a:t>
            </a:r>
          </a:p>
          <a:p>
            <a:pPr marL="228600" indent="-228600">
              <a:buAutoNum type="arabicPeriod"/>
            </a:pPr>
            <a:endParaRPr lang="en-US"/>
          </a:p>
          <a:p>
            <a:pPr marL="228600" indent="-228600">
              <a:buAutoNum type="arabicPeriod"/>
            </a:pPr>
            <a:endParaRPr lang="en-US" dirty="0"/>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6/2018 2:01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3040384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6/2018 2:01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19841208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 https://docs.microsoft.com/en-us/azure/cognitive-services/luis/home</a:t>
            </a: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6/2018 2:01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100959611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a:t>Plan your app: https://docs.microsoft.com/en-us/azure/cognitive-services/luis/plan-your-app</a:t>
            </a:r>
          </a:p>
          <a:p>
            <a:pPr marL="228600" indent="-228600">
              <a:buAutoNum type="arabicPeriod"/>
            </a:pPr>
            <a:r>
              <a:rPr lang="en-US" dirty="0"/>
              <a:t>Prebuilt entity: https://docs.microsoft.com/en-us/azure/cognitive-services/luis/pre-builtentities</a:t>
            </a:r>
          </a:p>
          <a:p>
            <a:pPr marL="228600" indent="-228600">
              <a:buAutoNum type="arabicPeriod"/>
            </a:pPr>
            <a:r>
              <a:rPr lang="en-US" dirty="0"/>
              <a:t>Prebuilt domains: https://docs.microsoft.com/en-us/azure/cognitive-services/luis/luis-how-to-use-prebuilt-domains</a:t>
            </a:r>
          </a:p>
          <a:p>
            <a:pPr marL="228600" indent="-228600">
              <a:buAutoNum type="arabicPeriod"/>
            </a:pPr>
            <a:r>
              <a:rPr lang="en-US" dirty="0"/>
              <a:t>Best practices: https://docs.microsoft.com/en-us/azure/cognitive-services/luis/luis-concept-best-practices#entities</a:t>
            </a:r>
          </a:p>
          <a:p>
            <a:pPr marL="228600" indent="-228600">
              <a:buAutoNum type="arabicPeriod"/>
            </a:pPr>
            <a:r>
              <a:rPr lang="en-US" dirty="0"/>
              <a:t>Recognizer-Texts, code behind prebuilt entities: https://blog.botframework.com/2018/01/24/contributing-luis-microsoft-recognizers-text-part-1/</a:t>
            </a:r>
          </a:p>
          <a:p>
            <a:pPr marL="228600" indent="-228600">
              <a:buAutoNum type="arabicPeriod"/>
            </a:pPr>
            <a:endParaRPr lang="en-US" dirty="0"/>
          </a:p>
          <a:p>
            <a:pPr marL="228600" indent="-228600">
              <a:buAutoNum type="arabicPeriod"/>
            </a:pPr>
            <a:endParaRPr lang="en-US" dirty="0"/>
          </a:p>
          <a:p>
            <a:pPr marL="228600" indent="-228600">
              <a:buAutoNum type="arabicPeriod"/>
            </a:pPr>
            <a:endParaRPr lang="en-US" dirty="0"/>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6/2018 2:01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Header Placeholder 11"/>
          <p:cNvSpPr>
            <a:spLocks noGrp="1"/>
          </p:cNvSpPr>
          <p:nvPr>
            <p:ph type="hd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6"/>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65329801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8.xml"/><Relationship Id="rId5" Type="http://schemas.openxmlformats.org/officeDocument/2006/relationships/image" Target="../media/image31.png"/><Relationship Id="rId4" Type="http://schemas.openxmlformats.org/officeDocument/2006/relationships/image" Target="../media/image30.png"/></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2.png"/><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3.emf"/><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Master" Target="../slideMasters/slideMaster10.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0.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12.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12.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12.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44.jpg"/><Relationship Id="rId1" Type="http://schemas.openxmlformats.org/officeDocument/2006/relationships/slideMaster" Target="../slideMasters/slideMaster1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12.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13.xml"/><Relationship Id="rId4" Type="http://schemas.openxmlformats.org/officeDocument/2006/relationships/image" Target="../media/image11.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jpeg"/><Relationship Id="rId1" Type="http://schemas.openxmlformats.org/officeDocument/2006/relationships/slideMaster" Target="../slideMasters/slideMaster13.xml"/><Relationship Id="rId4" Type="http://schemas.openxmlformats.org/officeDocument/2006/relationships/image" Target="../media/image11.png"/></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3.jpeg"/><Relationship Id="rId1" Type="http://schemas.openxmlformats.org/officeDocument/2006/relationships/slideMaster" Target="../slideMasters/slideMaster13.xml"/><Relationship Id="rId4" Type="http://schemas.openxmlformats.org/officeDocument/2006/relationships/image" Target="../media/image11.png"/></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3.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3.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jp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3.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3.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3.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3.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6.jpeg"/><Relationship Id="rId1" Type="http://schemas.openxmlformats.org/officeDocument/2006/relationships/slideMaster" Target="../slideMasters/slideMaster13.xml"/><Relationship Id="rId4" Type="http://schemas.openxmlformats.org/officeDocument/2006/relationships/image" Target="../media/image11.png"/></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7.jpeg"/><Relationship Id="rId1" Type="http://schemas.openxmlformats.org/officeDocument/2006/relationships/slideMaster" Target="../slideMasters/slideMaster13.xml"/><Relationship Id="rId4" Type="http://schemas.openxmlformats.org/officeDocument/2006/relationships/image" Target="../media/image11.png"/></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3.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3.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3.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emf"/><Relationship Id="rId1" Type="http://schemas.openxmlformats.org/officeDocument/2006/relationships/slideMaster" Target="../slideMasters/slideMaster14.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6.emf"/><Relationship Id="rId1" Type="http://schemas.openxmlformats.org/officeDocument/2006/relationships/slideMaster" Target="../slideMasters/slideMaster1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4.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4.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4.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4.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4.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4.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4.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15.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45.png"/><Relationship Id="rId1" Type="http://schemas.openxmlformats.org/officeDocument/2006/relationships/slideMaster" Target="../slideMasters/slideMaster15.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jpe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3.jpe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6.jpe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7.jpe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6.emf"/><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1">
    <p:bg>
      <p:bgPr>
        <a:solidFill>
          <a:schemeClr val="accent2"/>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38F91980-4640-4420-B101-C9BEC37A107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8" name="TextBox 7">
            <a:extLst>
              <a:ext uri="{FF2B5EF4-FFF2-40B4-BE49-F238E27FC236}">
                <a16:creationId xmlns:a16="http://schemas.microsoft.com/office/drawing/2014/main" id="{29E379F3-BC61-44ED-8F9B-54F8B85025ED}"/>
              </a:ext>
            </a:extLst>
          </p:cNvPr>
          <p:cNvSpPr txBox="1"/>
          <p:nvPr userDrawn="1"/>
        </p:nvSpPr>
        <p:spPr>
          <a:xfrm>
            <a:off x="586581" y="4218495"/>
            <a:ext cx="1851469" cy="615553"/>
          </a:xfrm>
          <a:prstGeom prst="rect">
            <a:avLst/>
          </a:prstGeom>
          <a:noFill/>
        </p:spPr>
        <p:txBody>
          <a:bodyPr wrap="none" lIns="0" tIns="0" rIns="0" bIns="0" rtlCol="0">
            <a:spAutoFit/>
          </a:bodyPr>
          <a:lstStyle/>
          <a:p>
            <a:pPr algn="l"/>
            <a:r>
              <a:rPr lang="en-US" sz="2000" dirty="0">
                <a:gradFill>
                  <a:gsLst>
                    <a:gs pos="80176">
                      <a:schemeClr val="tx1"/>
                    </a:gs>
                    <a:gs pos="68282">
                      <a:schemeClr val="tx1"/>
                    </a:gs>
                  </a:gsLst>
                  <a:lin ang="5400000" scaled="0"/>
                </a:gradFill>
              </a:rPr>
              <a:t>July 18–20, 2018</a:t>
            </a:r>
          </a:p>
          <a:p>
            <a:pPr algn="l"/>
            <a:r>
              <a:rPr lang="en-US" sz="2000" dirty="0">
                <a:gradFill>
                  <a:gsLst>
                    <a:gs pos="80176">
                      <a:schemeClr val="tx1"/>
                    </a:gs>
                    <a:gs pos="68282">
                      <a:schemeClr val="tx1"/>
                    </a:gs>
                  </a:gsLst>
                  <a:lin ang="5400000" scaled="0"/>
                </a:gradFill>
              </a:rPr>
              <a:t>Las Vegas, NV</a:t>
            </a:r>
          </a:p>
        </p:txBody>
      </p:sp>
      <p:pic>
        <p:nvPicPr>
          <p:cNvPr id="11" name="Picture 10">
            <a:extLst>
              <a:ext uri="{FF2B5EF4-FFF2-40B4-BE49-F238E27FC236}">
                <a16:creationId xmlns:a16="http://schemas.microsoft.com/office/drawing/2014/main" id="{D7ADB113-B00E-4752-81DB-AE332342DDD1}"/>
              </a:ext>
            </a:extLst>
          </p:cNvPr>
          <p:cNvPicPr>
            <a:picLocks noChangeAspect="1"/>
          </p:cNvPicPr>
          <p:nvPr userDrawn="1"/>
        </p:nvPicPr>
        <p:blipFill rotWithShape="1">
          <a:blip r:embed="rId3"/>
          <a:srcRect l="487" t="16931" r="33333" b="24211"/>
          <a:stretch/>
        </p:blipFill>
        <p:spPr bwMode="black">
          <a:xfrm>
            <a:off x="5098119" y="585788"/>
            <a:ext cx="7093880" cy="6272211"/>
          </a:xfrm>
          <a:prstGeom prst="rect">
            <a:avLst/>
          </a:prstGeom>
        </p:spPr>
      </p:pic>
      <p:pic>
        <p:nvPicPr>
          <p:cNvPr id="13" name="Picture 12">
            <a:extLst>
              <a:ext uri="{FF2B5EF4-FFF2-40B4-BE49-F238E27FC236}">
                <a16:creationId xmlns:a16="http://schemas.microsoft.com/office/drawing/2014/main" id="{BEAA312A-DD58-46FD-BCDC-F49B62DD9C5A}"/>
              </a:ext>
            </a:extLst>
          </p:cNvPr>
          <p:cNvPicPr>
            <a:picLocks noChangeAspect="1"/>
          </p:cNvPicPr>
          <p:nvPr userDrawn="1"/>
        </p:nvPicPr>
        <p:blipFill>
          <a:blip r:embed="rId4"/>
          <a:stretch>
            <a:fillRect/>
          </a:stretch>
        </p:blipFill>
        <p:spPr bwMode="black">
          <a:xfrm>
            <a:off x="584200" y="2322537"/>
            <a:ext cx="3012187" cy="1524596"/>
          </a:xfrm>
          <a:prstGeom prst="rect">
            <a:avLst/>
          </a:prstGeom>
        </p:spPr>
      </p:pic>
    </p:spTree>
    <p:extLst>
      <p:ext uri="{BB962C8B-B14F-4D97-AF65-F5344CB8AC3E}">
        <p14:creationId xmlns:p14="http://schemas.microsoft.com/office/powerpoint/2010/main" val="21602766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307984548"/>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388831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769821"/>
            <a:ext cx="388831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ubtitle</a:t>
            </a:r>
          </a:p>
        </p:txBody>
      </p:sp>
    </p:spTree>
    <p:extLst>
      <p:ext uri="{BB962C8B-B14F-4D97-AF65-F5344CB8AC3E}">
        <p14:creationId xmlns:p14="http://schemas.microsoft.com/office/powerpoint/2010/main" val="6172545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50"/>
                                        <p:tgtEl>
                                          <p:spTgt spid="2"/>
                                        </p:tgtEl>
                                      </p:cBhvr>
                                    </p:animEffect>
                                  </p:childTnLst>
                                </p:cTn>
                              </p:par>
                              <p:par>
                                <p:cTn id="8" presetID="63" presetClass="path" presetSubtype="0" decel="100000" fill="hold" grpId="1" nodeType="withEffect">
                                  <p:stCondLst>
                                    <p:cond delay="0"/>
                                  </p:stCondLst>
                                  <p:childTnLst>
                                    <p:animMotion origin="layout" path="M 3.125E-6 1.48148E-6 L 0.02916 1.48148E-6 " pathEditMode="relative" rAng="0" ptsTypes="AA">
                                      <p:cBhvr>
                                        <p:cTn id="9" dur="500" spd="-100000" fill="hold"/>
                                        <p:tgtEl>
                                          <p:spTgt spid="2"/>
                                        </p:tgtEl>
                                        <p:attrNameLst>
                                          <p:attrName>ppt_x</p:attrName>
                                          <p:attrName>ppt_y</p:attrName>
                                        </p:attrNameLst>
                                      </p:cBhvr>
                                      <p:rCtr x="1458" y="0"/>
                                    </p:animMotion>
                                  </p:childTnLst>
                                </p:cTn>
                              </p:par>
                              <p:par>
                                <p:cTn id="10" presetID="10"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grpId="1" nodeType="withEffect">
                                  <p:stCondLst>
                                    <p:cond delay="0"/>
                                  </p:stCondLst>
                                  <p:childTnLst>
                                    <p:animMotion origin="layout" path="M 3.125E-6 1.48148E-6 L 0.02916 1.48148E-6 " pathEditMode="relative" rAng="0" ptsTypes="AA">
                                      <p:cBhvr>
                                        <p:cTn id="14" dur="500" spd="-100000" fill="hold"/>
                                        <p:tgtEl>
                                          <p:spTgt spid="5"/>
                                        </p:tgtEl>
                                        <p:attrNameLst>
                                          <p:attrName>ppt_x</p:attrName>
                                          <p:attrName>ppt_y</p:attrName>
                                        </p:attrNameLst>
                                      </p:cBhvr>
                                      <p:rCtr x="145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350"/>
                        <p:tgtEl>
                          <p:spTgt spid="5"/>
                        </p:tgtEl>
                      </p:cBhvr>
                    </p:animEffect>
                  </p:childTnLst>
                </p:cTn>
              </p:par>
            </p:tnLst>
          </p:tmpl>
        </p:tmplLst>
      </p:bldP>
      <p:bldP spid="5" grpId="1">
        <p:tmplLst>
          <p:tmpl>
            <p:tnLst>
              <p:par>
                <p:cTn presetID="63" presetClass="path" presetSubtype="0" decel="100000" fill="hold" nodeType="withEffect">
                  <p:stCondLst>
                    <p:cond delay="0"/>
                  </p:stCondLst>
                  <p:childTnLst>
                    <p:animMotion origin="layout" path="M 3.125E-6 1.48148E-6 L 0.02916 1.48148E-6 " pathEditMode="relative" rAng="0" ptsTypes="AA">
                      <p:cBhvr>
                        <p:cTn dur="500" spd="-100000" fill="hold"/>
                        <p:tgtEl>
                          <p:spTgt spid="5"/>
                        </p:tgtEl>
                        <p:attrNameLst>
                          <p:attrName>ppt_x</p:attrName>
                          <p:attrName>ppt_y</p:attrName>
                        </p:attrNameLst>
                      </p:cBhvr>
                      <p:rCtr x="1458" y="0"/>
                    </p:animMotion>
                  </p:childTnLst>
                </p:cTn>
              </p:par>
            </p:tnLst>
          </p:tmpl>
        </p:tmplLst>
      </p:bldP>
    </p:bldLst>
  </p:timing>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1493156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5531631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6252907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5004172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200463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3704180"/>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9230661"/>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90162249"/>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2198563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43858526"/>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770627995"/>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4_Insert Photo">
    <p:spTree>
      <p:nvGrpSpPr>
        <p:cNvPr id="1" name=""/>
        <p:cNvGrpSpPr/>
        <p:nvPr/>
      </p:nvGrpSpPr>
      <p:grpSpPr>
        <a:xfrm>
          <a:off x="0" y="0"/>
          <a:ext cx="0" cy="0"/>
          <a:chOff x="0" y="0"/>
          <a:chExt cx="0" cy="0"/>
        </a:xfrm>
      </p:grpSpPr>
      <p:pic>
        <p:nvPicPr>
          <p:cNvPr id="44" name="Picture Placeholder 7"/>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918075" y="-4979"/>
            <a:ext cx="6273925" cy="5684621"/>
          </a:xfrm>
          <a:prstGeom prst="rect">
            <a:avLst/>
          </a:prstGeom>
        </p:spPr>
      </p:pic>
      <p:sp>
        <p:nvSpPr>
          <p:cNvPr id="20" name="Picture Placeholder 144"/>
          <p:cNvSpPr>
            <a:spLocks noGrp="1"/>
          </p:cNvSpPr>
          <p:nvPr>
            <p:ph type="pic" sz="quarter" idx="20" hasCustomPrompt="1"/>
          </p:nvPr>
        </p:nvSpPr>
        <p:spPr>
          <a:xfrm>
            <a:off x="5918075" y="0"/>
            <a:ext cx="6273925" cy="5684621"/>
          </a:xfrm>
          <a:prstGeom prst="rect">
            <a:avLst/>
          </a:prstGeom>
        </p:spPr>
        <p:txBody>
          <a:bodyPr anchor="ctr" anchorCtr="0">
            <a:noAutofit/>
          </a:bodyPr>
          <a:lstStyle>
            <a:lvl1pPr marL="0" indent="0" algn="ctr">
              <a:buNone/>
              <a:defRPr baseline="0">
                <a:solidFill>
                  <a:schemeClr val="bg1"/>
                </a:solidFill>
              </a:defRPr>
            </a:lvl1pPr>
          </a:lstStyle>
          <a:p>
            <a:r>
              <a:rPr lang="en-US" dirty="0"/>
              <a:t>Drag picture here</a:t>
            </a:r>
          </a:p>
        </p:txBody>
      </p:sp>
      <p:sp>
        <p:nvSpPr>
          <p:cNvPr id="21" name="Title 1"/>
          <p:cNvSpPr>
            <a:spLocks noGrp="1"/>
          </p:cNvSpPr>
          <p:nvPr>
            <p:ph type="ctrTitle"/>
          </p:nvPr>
        </p:nvSpPr>
        <p:spPr>
          <a:xfrm>
            <a:off x="613786" y="851200"/>
            <a:ext cx="4699724" cy="1043599"/>
          </a:xfrm>
          <a:prstGeom prst="rect">
            <a:avLst/>
          </a:prstGeom>
        </p:spPr>
        <p:txBody>
          <a:bodyPr lIns="0" tIns="0" rIns="0" bIns="0" anchor="t" anchorCtr="0">
            <a:noAutofit/>
          </a:bodyPr>
          <a:lstStyle>
            <a:lvl1pPr algn="l">
              <a:defRPr sz="3200" b="1">
                <a:solidFill>
                  <a:schemeClr val="tx1">
                    <a:lumMod val="50000"/>
                    <a:lumOff val="50000"/>
                  </a:schemeClr>
                </a:solidFill>
                <a:latin typeface="+mj-lt"/>
              </a:defRPr>
            </a:lvl1pPr>
          </a:lstStyle>
          <a:p>
            <a:r>
              <a:rPr lang="en-US"/>
              <a:t>Click to edit Master title style</a:t>
            </a:r>
          </a:p>
        </p:txBody>
      </p:sp>
      <p:sp>
        <p:nvSpPr>
          <p:cNvPr id="22" name="Text Placeholder 132"/>
          <p:cNvSpPr>
            <a:spLocks noGrp="1"/>
          </p:cNvSpPr>
          <p:nvPr>
            <p:ph type="body" sz="quarter" idx="11"/>
          </p:nvPr>
        </p:nvSpPr>
        <p:spPr>
          <a:xfrm>
            <a:off x="622300" y="1930399"/>
            <a:ext cx="4724400" cy="3382923"/>
          </a:xfrm>
          <a:prstGeom prst="rect">
            <a:avLst/>
          </a:prstGeom>
        </p:spPr>
        <p:txBody>
          <a:bodyPr lIns="0" tIns="0" rIns="0" bIns="0">
            <a:noAutofit/>
          </a:bodyPr>
          <a:lstStyle>
            <a:lvl1pPr marL="0" indent="0">
              <a:lnSpc>
                <a:spcPts val="1800"/>
              </a:lnSpc>
              <a:buNone/>
              <a:defRPr sz="1200">
                <a:solidFill>
                  <a:schemeClr val="bg2">
                    <a:lumMod val="25000"/>
                  </a:schemeClr>
                </a:solidFill>
              </a:defRPr>
            </a:lvl1pPr>
          </a:lstStyle>
          <a:p>
            <a:pPr lvl="0"/>
            <a:r>
              <a:rPr lang="en-US"/>
              <a:t>Click to edit Master text styles</a:t>
            </a:r>
          </a:p>
        </p:txBody>
      </p:sp>
      <p:cxnSp>
        <p:nvCxnSpPr>
          <p:cNvPr id="31" name="Straight Connector 30"/>
          <p:cNvCxnSpPr/>
          <p:nvPr userDrawn="1"/>
        </p:nvCxnSpPr>
        <p:spPr>
          <a:xfrm>
            <a:off x="13962495" y="10026650"/>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4" name="Rectangle 23"/>
          <p:cNvSpPr/>
          <p:nvPr userDrawn="1"/>
        </p:nvSpPr>
        <p:spPr>
          <a:xfrm>
            <a:off x="0" y="5689600"/>
            <a:ext cx="12192000" cy="1168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Text Placeholder 136"/>
          <p:cNvSpPr>
            <a:spLocks noGrp="1"/>
          </p:cNvSpPr>
          <p:nvPr>
            <p:ph type="body" sz="quarter" idx="35"/>
          </p:nvPr>
        </p:nvSpPr>
        <p:spPr>
          <a:xfrm>
            <a:off x="10933315" y="6301905"/>
            <a:ext cx="840508" cy="382948"/>
          </a:xfrm>
          <a:prstGeom prst="rect">
            <a:avLst/>
          </a:prstGeom>
        </p:spPr>
        <p:txBody>
          <a:bodyPr lIns="0" tIns="0" rIns="0" bIns="0">
            <a:noAutofit/>
          </a:bodyPr>
          <a:lstStyle>
            <a:lvl1pPr marL="0" marR="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sz="8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cxnSp>
        <p:nvCxnSpPr>
          <p:cNvPr id="27" name="Straight Connector 26"/>
          <p:cNvCxnSpPr/>
          <p:nvPr userDrawn="1"/>
        </p:nvCxnSpPr>
        <p:spPr>
          <a:xfrm>
            <a:off x="10523604" y="5930900"/>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8" name="Picture Placeholder 144"/>
          <p:cNvSpPr>
            <a:spLocks noGrp="1"/>
          </p:cNvSpPr>
          <p:nvPr>
            <p:ph type="pic" sz="quarter" idx="36" hasCustomPrompt="1"/>
          </p:nvPr>
        </p:nvSpPr>
        <p:spPr>
          <a:xfrm>
            <a:off x="202498" y="5884716"/>
            <a:ext cx="2064635" cy="834378"/>
          </a:xfrm>
          <a:prstGeom prst="rect">
            <a:avLst/>
          </a:prstGeom>
        </p:spPr>
        <p:txBody>
          <a:bodyPr anchor="ctr" anchorCtr="0">
            <a:noAutofit/>
          </a:bodyPr>
          <a:lstStyle>
            <a:lvl1pPr marL="0" indent="0" algn="ctr">
              <a:buNone/>
              <a:defRPr sz="1600">
                <a:solidFill>
                  <a:srgbClr val="7030A0"/>
                </a:solidFill>
              </a:defRPr>
            </a:lvl1pPr>
          </a:lstStyle>
          <a:p>
            <a:r>
              <a:rPr lang="en-US" dirty="0"/>
              <a:t>Drag logo here</a:t>
            </a:r>
          </a:p>
        </p:txBody>
      </p:sp>
      <p:sp>
        <p:nvSpPr>
          <p:cNvPr id="55" name="Text Placeholder 136"/>
          <p:cNvSpPr>
            <a:spLocks noGrp="1"/>
          </p:cNvSpPr>
          <p:nvPr>
            <p:ph type="body" sz="quarter" idx="31"/>
          </p:nvPr>
        </p:nvSpPr>
        <p:spPr>
          <a:xfrm>
            <a:off x="8892839" y="6156112"/>
            <a:ext cx="805425"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56" name="Text Placeholder 136"/>
          <p:cNvSpPr>
            <a:spLocks noGrp="1"/>
          </p:cNvSpPr>
          <p:nvPr>
            <p:ph type="body" sz="quarter" idx="32"/>
          </p:nvPr>
        </p:nvSpPr>
        <p:spPr>
          <a:xfrm>
            <a:off x="7302675" y="6181251"/>
            <a:ext cx="879812"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57" name="Text Placeholder 136"/>
          <p:cNvSpPr>
            <a:spLocks noGrp="1"/>
          </p:cNvSpPr>
          <p:nvPr>
            <p:ph type="body" sz="quarter" idx="33"/>
          </p:nvPr>
        </p:nvSpPr>
        <p:spPr>
          <a:xfrm>
            <a:off x="5307250" y="6156112"/>
            <a:ext cx="988642"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58" name="Text Placeholder 136"/>
          <p:cNvSpPr>
            <a:spLocks noGrp="1"/>
          </p:cNvSpPr>
          <p:nvPr>
            <p:ph type="body" sz="quarter" idx="34"/>
          </p:nvPr>
        </p:nvSpPr>
        <p:spPr>
          <a:xfrm>
            <a:off x="3087261" y="6171517"/>
            <a:ext cx="1505159" cy="46395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a:t>Click to edit Master text styles</a:t>
            </a:r>
          </a:p>
        </p:txBody>
      </p:sp>
      <p:sp>
        <p:nvSpPr>
          <p:cNvPr id="60" name="TextBox 59"/>
          <p:cNvSpPr txBox="1"/>
          <p:nvPr userDrawn="1"/>
        </p:nvSpPr>
        <p:spPr>
          <a:xfrm>
            <a:off x="3197994" y="5916409"/>
            <a:ext cx="1487548"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Products and Services</a:t>
            </a:r>
          </a:p>
        </p:txBody>
      </p:sp>
      <p:sp>
        <p:nvSpPr>
          <p:cNvPr id="61" name="TextBox 60"/>
          <p:cNvSpPr txBox="1"/>
          <p:nvPr userDrawn="1"/>
        </p:nvSpPr>
        <p:spPr>
          <a:xfrm>
            <a:off x="5294550" y="5912045"/>
            <a:ext cx="1247049" cy="155299"/>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Organization Size</a:t>
            </a:r>
          </a:p>
        </p:txBody>
      </p:sp>
      <p:sp>
        <p:nvSpPr>
          <p:cNvPr id="62" name="TextBox 61"/>
          <p:cNvSpPr txBox="1"/>
          <p:nvPr userDrawn="1"/>
        </p:nvSpPr>
        <p:spPr>
          <a:xfrm>
            <a:off x="7464535" y="5915827"/>
            <a:ext cx="988642"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Industry</a:t>
            </a:r>
          </a:p>
        </p:txBody>
      </p:sp>
      <p:sp>
        <p:nvSpPr>
          <p:cNvPr id="63" name="TextBox 62"/>
          <p:cNvSpPr txBox="1"/>
          <p:nvPr userDrawn="1"/>
        </p:nvSpPr>
        <p:spPr>
          <a:xfrm>
            <a:off x="8994069" y="5930900"/>
            <a:ext cx="988642" cy="153888"/>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Country</a:t>
            </a:r>
          </a:p>
        </p:txBody>
      </p:sp>
    </p:spTree>
    <p:extLst>
      <p:ext uri="{BB962C8B-B14F-4D97-AF65-F5344CB8AC3E}">
        <p14:creationId xmlns:p14="http://schemas.microsoft.com/office/powerpoint/2010/main" val="347662950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2_Title &amp; 2-color Non-bulleted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C785812-DBB3-49A5-B9A5-226A70E5849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32323543"/>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cSld name="Title Only - gray,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000" spc="0">
                <a:solidFill>
                  <a:schemeClr val="tx1"/>
                </a:solidFill>
              </a:defRPr>
            </a:lvl1pPr>
          </a:lstStyle>
          <a:p>
            <a:r>
              <a:rPr lang="en-US"/>
              <a:t>Click to edit Master title style</a:t>
            </a:r>
          </a:p>
        </p:txBody>
      </p:sp>
    </p:spTree>
    <p:extLst>
      <p:ext uri="{BB962C8B-B14F-4D97-AF65-F5344CB8AC3E}">
        <p14:creationId xmlns:p14="http://schemas.microsoft.com/office/powerpoint/2010/main" val="1547255129"/>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16083751"/>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23480951"/>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35692038"/>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Closing logo slide">
    <p:bg>
      <p:bgPr>
        <a:solidFill>
          <a:schemeClr val="accent2">
            <a:lumMod val="75000"/>
            <a:lumOff val="25000"/>
          </a:schemeClr>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15762556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userDrawn="1">
  <p:cSld name="1_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Segoe UI Light" panose="020B0502040204020203" pitchFamily="34" charset="0"/>
                <a:cs typeface="Segoe UI Light"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Segoe UI Light" panose="020B0502040204020203" pitchFamily="34" charset="0"/>
                <a:cs typeface="Segoe UI Light" panose="020B0502040204020203" pitchFamily="34" charset="0"/>
              </a:defRPr>
            </a:lvl1pPr>
          </a:lstStyle>
          <a:p>
            <a:pPr lvl="0"/>
            <a:r>
              <a:rPr lang="en-US" dirty="0"/>
              <a:t>Speaker name or subtitle text</a:t>
            </a:r>
          </a:p>
        </p:txBody>
      </p:sp>
    </p:spTree>
    <p:extLst>
      <p:ext uri="{BB962C8B-B14F-4D97-AF65-F5344CB8AC3E}">
        <p14:creationId xmlns:p14="http://schemas.microsoft.com/office/powerpoint/2010/main" val="16541193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2586953"/>
            <a:ext cx="9144000" cy="92301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36933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Tree>
    <p:extLst>
      <p:ext uri="{BB962C8B-B14F-4D97-AF65-F5344CB8AC3E}">
        <p14:creationId xmlns:p14="http://schemas.microsoft.com/office/powerpoint/2010/main" val="35723943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161537812"/>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userDrawn="1">
  <p:cSld name="Blank_Accent 3">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8542050"/>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2_Title Slide Photo_Option">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623" y="-623"/>
            <a:ext cx="12191377" cy="6858623"/>
          </a:xfrm>
          <a:prstGeom prst="rect">
            <a:avLst/>
          </a:prstGeom>
        </p:spPr>
      </p:pic>
      <p:sp>
        <p:nvSpPr>
          <p:cNvPr id="2" name="Rectangle 1"/>
          <p:cNvSpPr/>
          <p:nvPr/>
        </p:nvSpPr>
        <p:spPr bwMode="auto">
          <a:xfrm>
            <a:off x="5644611" y="2103818"/>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647850" y="2103817"/>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646231" y="3896902"/>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44057" y="6043943"/>
            <a:ext cx="1653406" cy="356169"/>
          </a:xfrm>
          <a:prstGeom prst="rect">
            <a:avLst/>
          </a:prstGeom>
        </p:spPr>
      </p:pic>
      <p:pic>
        <p:nvPicPr>
          <p:cNvPr id="7" name="Picture 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623" y="-623"/>
            <a:ext cx="12191377" cy="6858623"/>
          </a:xfrm>
          <a:prstGeom prst="rect">
            <a:avLst/>
          </a:prstGeom>
        </p:spPr>
      </p:pic>
      <p:sp>
        <p:nvSpPr>
          <p:cNvPr id="10" name="Rectangle 9"/>
          <p:cNvSpPr/>
          <p:nvPr userDrawn="1"/>
        </p:nvSpPr>
        <p:spPr bwMode="auto">
          <a:xfrm>
            <a:off x="5644611" y="2103818"/>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344057" y="6043943"/>
            <a:ext cx="1653406" cy="356169"/>
          </a:xfrm>
          <a:prstGeom prst="rect">
            <a:avLst/>
          </a:prstGeom>
        </p:spPr>
      </p:pic>
    </p:spTree>
    <p:extLst>
      <p:ext uri="{BB962C8B-B14F-4D97-AF65-F5344CB8AC3E}">
        <p14:creationId xmlns:p14="http://schemas.microsoft.com/office/powerpoint/2010/main" val="2453643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44756644"/>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1887004"/>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55111" y="3083653"/>
            <a:ext cx="3214044" cy="690695"/>
          </a:xfrm>
          <a:prstGeom prst="rect">
            <a:avLst/>
          </a:prstGeom>
        </p:spPr>
      </p:pic>
      <p:sp>
        <p:nvSpPr>
          <p:cNvPr id="4"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5" name="Picture 4"/>
          <p:cNvPicPr>
            <a:picLocks noChangeAspect="1"/>
          </p:cNvPicPr>
          <p:nvPr userDrawn="1"/>
        </p:nvPicPr>
        <p:blipFill>
          <a:blip r:embed="rId3"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0540127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54892" y="481158"/>
            <a:ext cx="1408078" cy="300619"/>
          </a:xfrm>
          <a:prstGeom prst="rect">
            <a:avLst/>
          </a:prstGeom>
        </p:spPr>
      </p:pic>
      <p:sp>
        <p:nvSpPr>
          <p:cNvPr id="12" name="Freeform 11"/>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00BCF2"/>
          </a:solidFill>
          <a:ln>
            <a:noFill/>
          </a:ln>
        </p:spPr>
        <p:txBody>
          <a:bodyPr vert="horz" wrap="square" lIns="89642" tIns="44821" rIns="89642" bIns="44821" numCol="1" anchor="t" anchorCtr="0" compatLnSpc="1">
            <a:prstTxWarp prst="textNoShape">
              <a:avLst/>
            </a:prstTxWarp>
          </a:bodyPr>
          <a:lstStyle/>
          <a:p>
            <a:endParaRPr lang="en-US" sz="1730"/>
          </a:p>
        </p:txBody>
      </p:sp>
    </p:spTree>
    <p:extLst>
      <p:ext uri="{BB962C8B-B14F-4D97-AF65-F5344CB8AC3E}">
        <p14:creationId xmlns:p14="http://schemas.microsoft.com/office/powerpoint/2010/main" val="33766895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Slide - Microsoft">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81158"/>
            <a:ext cx="1421436" cy="300619"/>
          </a:xfrm>
          <a:prstGeom prst="rect">
            <a:avLst/>
          </a:prstGeom>
        </p:spPr>
      </p:pic>
      <p:sp>
        <p:nvSpPr>
          <p:cNvPr id="7" name="Text Placeholder 2"/>
          <p:cNvSpPr>
            <a:spLocks noGrp="1"/>
          </p:cNvSpPr>
          <p:nvPr>
            <p:ph type="body" sz="quarter" idx="13" hasCustomPrompt="1"/>
          </p:nvPr>
        </p:nvSpPr>
        <p:spPr>
          <a:xfrm>
            <a:off x="8337063" y="301617"/>
            <a:ext cx="3584143"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
        <p:nvSpPr>
          <p:cNvPr id="8" name="TextBox 7"/>
          <p:cNvSpPr txBox="1"/>
          <p:nvPr userDrawn="1"/>
        </p:nvSpPr>
        <p:spPr>
          <a:xfrm>
            <a:off x="283308" y="5954047"/>
            <a:ext cx="1862846" cy="615609"/>
          </a:xfrm>
          <a:prstGeom prst="rect">
            <a:avLst/>
          </a:prstGeom>
          <a:noFill/>
        </p:spPr>
        <p:txBody>
          <a:bodyPr wrap="none" lIns="179285" tIns="143428" rIns="179285" bIns="143428" rtlCol="0">
            <a:spAutoFit/>
          </a:bodyPr>
          <a:lstStyle/>
          <a:p>
            <a:pPr>
              <a:lnSpc>
                <a:spcPct val="90000"/>
              </a:lnSpc>
              <a:spcAft>
                <a:spcPts val="588"/>
              </a:spcAft>
            </a:pPr>
            <a:r>
              <a:rPr lang="en-US" sz="2353" dirty="0">
                <a:gradFill>
                  <a:gsLst>
                    <a:gs pos="2917">
                      <a:schemeClr val="tx1"/>
                    </a:gs>
                    <a:gs pos="30000">
                      <a:schemeClr val="tx1"/>
                    </a:gs>
                  </a:gsLst>
                  <a:lin ang="5400000" scaled="0"/>
                </a:gradFill>
              </a:rPr>
              <a:t>#Build2016</a:t>
            </a:r>
          </a:p>
        </p:txBody>
      </p:sp>
    </p:spTree>
    <p:extLst>
      <p:ext uri="{BB962C8B-B14F-4D97-AF65-F5344CB8AC3E}">
        <p14:creationId xmlns:p14="http://schemas.microsoft.com/office/powerpoint/2010/main" val="33960636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Slide - Build">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7" name="Text Placeholder 2"/>
          <p:cNvSpPr>
            <a:spLocks noGrp="1"/>
          </p:cNvSpPr>
          <p:nvPr>
            <p:ph type="body" sz="quarter" idx="13" hasCustomPrompt="1"/>
          </p:nvPr>
        </p:nvSpPr>
        <p:spPr>
          <a:xfrm>
            <a:off x="8337063" y="301617"/>
            <a:ext cx="3584143"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
        <p:nvSpPr>
          <p:cNvPr id="8" name="Freeform 7"/>
          <p:cNvSpPr>
            <a:spLocks noChangeAspect="1" noEditPoints="1"/>
          </p:cNvSpPr>
          <p:nvPr userDrawn="1"/>
        </p:nvSpPr>
        <p:spPr bwMode="black">
          <a:xfrm>
            <a:off x="448212" y="481157"/>
            <a:ext cx="1214650" cy="30482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30">
              <a:solidFill>
                <a:srgbClr val="404040"/>
              </a:solidFill>
            </a:endParaRPr>
          </a:p>
        </p:txBody>
      </p:sp>
      <p:sp>
        <p:nvSpPr>
          <p:cNvPr id="9" name="TextBox 8"/>
          <p:cNvSpPr txBox="1"/>
          <p:nvPr userDrawn="1"/>
        </p:nvSpPr>
        <p:spPr>
          <a:xfrm>
            <a:off x="283308" y="5954047"/>
            <a:ext cx="1862846" cy="615609"/>
          </a:xfrm>
          <a:prstGeom prst="rect">
            <a:avLst/>
          </a:prstGeom>
          <a:noFill/>
        </p:spPr>
        <p:txBody>
          <a:bodyPr wrap="none" lIns="179285" tIns="143428" rIns="179285" bIns="143428" rtlCol="0">
            <a:spAutoFit/>
          </a:bodyPr>
          <a:lstStyle/>
          <a:p>
            <a:pPr>
              <a:lnSpc>
                <a:spcPct val="90000"/>
              </a:lnSpc>
              <a:spcAft>
                <a:spcPts val="588"/>
              </a:spcAft>
            </a:pPr>
            <a:r>
              <a:rPr lang="en-US" sz="2353" dirty="0">
                <a:gradFill>
                  <a:gsLst>
                    <a:gs pos="2917">
                      <a:schemeClr val="tx1"/>
                    </a:gs>
                    <a:gs pos="30000">
                      <a:schemeClr val="tx1"/>
                    </a:gs>
                  </a:gsLst>
                  <a:lin ang="5400000" scaled="0"/>
                </a:gradFill>
              </a:rPr>
              <a:t>#Build2016</a:t>
            </a:r>
          </a:p>
        </p:txBody>
      </p:sp>
    </p:spTree>
    <p:extLst>
      <p:ext uri="{BB962C8B-B14F-4D97-AF65-F5344CB8AC3E}">
        <p14:creationId xmlns:p14="http://schemas.microsoft.com/office/powerpoint/2010/main" val="24553498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69239" y="1189177"/>
            <a:ext cx="11653523" cy="2055306"/>
          </a:xfrm>
        </p:spPr>
        <p:txBody>
          <a:bodyPr/>
          <a:lstStyle>
            <a:lvl1pPr marL="0" indent="0">
              <a:buNone/>
              <a:defRPr>
                <a:gradFill>
                  <a:gsLst>
                    <a:gs pos="1250">
                      <a:schemeClr val="tx1"/>
                    </a:gs>
                    <a:gs pos="99000">
                      <a:schemeClr val="tx1"/>
                    </a:gs>
                  </a:gsLst>
                  <a:lin ang="5400000" scaled="0"/>
                </a:gradFill>
              </a:defRPr>
            </a:lvl1pPr>
            <a:lvl2pPr marL="0" indent="0">
              <a:buFontTx/>
              <a:buNone/>
              <a:defRPr sz="2353"/>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15035477"/>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0063051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202163561"/>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10845179"/>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44973074"/>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565955339"/>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584488698"/>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8964248" cy="1158793"/>
          </a:xfrm>
          <a:noFill/>
        </p:spPr>
        <p:txBody>
          <a:bodyPr wrap="square" tIns="91440" bIns="91440" anchor="t" anchorCtr="0">
            <a:spAutoFit/>
          </a:bodyPr>
          <a:lstStyle>
            <a:lvl1pPr>
              <a:defRPr sz="7058" spc="-98" baseline="0">
                <a:gradFill>
                  <a:gsLst>
                    <a:gs pos="6195">
                      <a:schemeClr val="tx1"/>
                    </a:gs>
                    <a:gs pos="24779">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8964247" cy="724246"/>
          </a:xfrm>
          <a:noFill/>
        </p:spPr>
        <p:txBody>
          <a:bodyPr wrap="square" lIns="182880" tIns="146304" rIns="182880" bIns="146304">
            <a:spAutoFit/>
          </a:bodyPr>
          <a:lstStyle>
            <a:lvl1pPr marL="0" indent="0">
              <a:spcBef>
                <a:spcPts val="0"/>
              </a:spcBef>
              <a:buNone/>
              <a:defRPr sz="3137" spc="0" baseline="0">
                <a:gradFill>
                  <a:gsLst>
                    <a:gs pos="6195">
                      <a:schemeClr val="tx1"/>
                    </a:gs>
                    <a:gs pos="24779">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9120733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964247"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1826028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26780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21239">
                      <a:srgbClr val="FFFFFF"/>
                    </a:gs>
                    <a:gs pos="52000">
                      <a:srgbClr val="FFFFFF"/>
                    </a:gs>
                  </a:gsLst>
                  <a:lin ang="5400000" scaled="0"/>
                </a:gradFill>
              </a:defRPr>
            </a:lvl1pPr>
          </a:lstStyle>
          <a:p>
            <a:r>
              <a:rPr lang="en-US" dirty="0"/>
              <a:t>Section title</a:t>
            </a:r>
          </a:p>
        </p:txBody>
      </p:sp>
    </p:spTree>
    <p:extLst>
      <p:ext uri="{BB962C8B-B14F-4D97-AF65-F5344CB8AC3E}">
        <p14:creationId xmlns:p14="http://schemas.microsoft.com/office/powerpoint/2010/main" val="473031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50-50 Right Photo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dpi="0" rotWithShape="1">
            <a:blip r:embed="rId2"/>
            <a:srcRect/>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42109385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93088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433033404"/>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23156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nk Accent Color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58348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3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29876733"/>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rgbClr val="505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6700334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753948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9979983"/>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194538" y="1189177"/>
            <a:ext cx="5453252" cy="1943393"/>
          </a:xfrm>
        </p:spPr>
        <p:txBody>
          <a:bodyPr wrap="square">
            <a:spAutoFit/>
          </a:bodyPr>
          <a:lstStyle>
            <a:lvl1pPr marL="0" indent="0">
              <a:spcBef>
                <a:spcPts val="1200"/>
              </a:spcBef>
              <a:buClr>
                <a:schemeClr val="bg1"/>
              </a:buClr>
              <a:buFont typeface="Arial" pitchFamily="34" charset="0"/>
              <a:buChar char="•"/>
              <a:defRPr sz="3136">
                <a:gradFill>
                  <a:gsLst>
                    <a:gs pos="1250">
                      <a:schemeClr val="tx2"/>
                    </a:gs>
                    <a:gs pos="99000">
                      <a:schemeClr val="tx2"/>
                    </a:gs>
                  </a:gsLst>
                  <a:lin ang="5400000" scaled="0"/>
                </a:gradFill>
              </a:defRPr>
            </a:lvl1pPr>
            <a:lvl2pPr marL="520602" indent="-228557">
              <a:buClr>
                <a:schemeClr val="bg1"/>
              </a:buClr>
              <a:defRPr sz="2353"/>
            </a:lvl2pPr>
            <a:lvl3pPr marL="685671" indent="-165070">
              <a:buClr>
                <a:schemeClr val="bg1"/>
              </a:buClr>
              <a:tabLst/>
              <a:defRPr sz="1961"/>
            </a:lvl3pPr>
            <a:lvl4pPr marL="863437" indent="-177767">
              <a:buClr>
                <a:schemeClr val="bg1"/>
              </a:buClr>
              <a:defRPr/>
            </a:lvl4pPr>
            <a:lvl5pPr marL="1028506" indent="-165070">
              <a:buClr>
                <a:schemeClr val="bg1"/>
              </a:buCl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469510" y="1189177"/>
            <a:ext cx="5453252" cy="1943393"/>
          </a:xfrm>
        </p:spPr>
        <p:txBody>
          <a:bodyPr wrap="square">
            <a:spAutoFit/>
          </a:bodyPr>
          <a:lstStyle>
            <a:lvl1pPr marL="0" indent="0">
              <a:spcBef>
                <a:spcPts val="1200"/>
              </a:spcBef>
              <a:buClr>
                <a:schemeClr val="bg1"/>
              </a:buClr>
              <a:buFont typeface="Arial" pitchFamily="34" charset="0"/>
              <a:buChar char="•"/>
              <a:defRPr sz="3136">
                <a:gradFill>
                  <a:gsLst>
                    <a:gs pos="1250">
                      <a:schemeClr val="tx2"/>
                    </a:gs>
                    <a:gs pos="99000">
                      <a:schemeClr val="tx2"/>
                    </a:gs>
                  </a:gsLst>
                  <a:lin ang="5400000" scaled="0"/>
                </a:gradFill>
              </a:defRPr>
            </a:lvl1pPr>
            <a:lvl2pPr marL="520602" indent="-228557">
              <a:buClr>
                <a:schemeClr val="bg1"/>
              </a:buClr>
              <a:defRPr sz="2353"/>
            </a:lvl2pPr>
            <a:lvl3pPr marL="685671" indent="-165070">
              <a:buClr>
                <a:schemeClr val="bg1"/>
              </a:buClr>
              <a:tabLst/>
              <a:defRPr sz="1961"/>
            </a:lvl3pPr>
            <a:lvl4pPr marL="863437" indent="-177767">
              <a:buClr>
                <a:schemeClr val="bg1"/>
              </a:buClr>
              <a:defRPr/>
            </a:lvl4pPr>
            <a:lvl5pPr marL="1028506" indent="-165070">
              <a:buClr>
                <a:schemeClr val="bg1"/>
              </a:buCl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Rectangle 8"/>
          <p:cNvSpPr/>
          <p:nvPr userDrawn="1"/>
        </p:nvSpPr>
        <p:spPr>
          <a:xfrm>
            <a:off x="179597" y="6609041"/>
            <a:ext cx="2360896" cy="253787"/>
          </a:xfrm>
          <a:prstGeom prst="rect">
            <a:avLst/>
          </a:prstGeom>
        </p:spPr>
        <p:txBody>
          <a:bodyPr wrap="square">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28" b="0" i="0" u="none" strike="noStrike" kern="1200" cap="none" spc="0" normalizeH="0" baseline="0" noProof="0" dirty="0">
                <a:ln>
                  <a:noFill/>
                </a:ln>
                <a:solidFill>
                  <a:srgbClr val="505050"/>
                </a:solidFill>
                <a:effectLst/>
                <a:uLnTx/>
                <a:uFillTx/>
                <a:latin typeface="Segoe UI"/>
                <a:ea typeface="+mn-ea"/>
                <a:cs typeface="+mn-cs"/>
              </a:rPr>
              <a:t>Microsoft Confidential</a:t>
            </a: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88582" y="6364610"/>
            <a:ext cx="1064371" cy="404644"/>
          </a:xfrm>
          <a:prstGeom prst="rect">
            <a:avLst/>
          </a:prstGeom>
        </p:spPr>
      </p:pic>
    </p:spTree>
    <p:extLst>
      <p:ext uri="{BB962C8B-B14F-4D97-AF65-F5344CB8AC3E}">
        <p14:creationId xmlns:p14="http://schemas.microsoft.com/office/powerpoint/2010/main" val="940936388"/>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0853" y="2057401"/>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3" y="2057400"/>
            <a:ext cx="5487829" cy="2743426"/>
          </a:xfrm>
          <a:noFill/>
        </p:spPr>
        <p:txBody>
          <a:bodyPr vert="horz" lIns="137160" tIns="137160" rIns="137160" bIns="137160" rtlCol="0" anchor="t" anchorCtr="0">
            <a:normAutofit/>
          </a:bodyPr>
          <a:lstStyle>
            <a:lvl1pPr>
              <a:defRPr lang="en-US" sz="4400" spc="-98"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3" y="4800601"/>
            <a:ext cx="5487829" cy="914400"/>
          </a:xfrm>
        </p:spPr>
        <p:txBody>
          <a:bodyPr lIns="137160" tIns="137160" rIns="137160" bIns="137160">
            <a:noAutofit/>
          </a:bodyPr>
          <a:lstStyle>
            <a:lvl1pPr marL="0" indent="0">
              <a:spcBef>
                <a:spcPts val="0"/>
              </a:spcBef>
              <a:buNone/>
              <a:defRPr sz="2000">
                <a:solidFill>
                  <a:schemeClr val="bg1"/>
                </a:solidFill>
              </a:defRPr>
            </a:lvl1pPr>
            <a:lvl2pPr marL="281620" indent="0">
              <a:buNone/>
              <a:defRPr sz="2000">
                <a:solidFill>
                  <a:schemeClr val="bg1"/>
                </a:solidFill>
              </a:defRPr>
            </a:lvl2pPr>
            <a:lvl3pPr marL="588363" indent="0">
              <a:buNone/>
              <a:defRPr sz="2000">
                <a:solidFill>
                  <a:schemeClr val="bg1"/>
                </a:solidFill>
              </a:defRPr>
            </a:lvl3pPr>
            <a:lvl4pPr marL="869983" indent="0">
              <a:buNone/>
              <a:defRPr sz="2000">
                <a:solidFill>
                  <a:schemeClr val="bg1"/>
                </a:solidFill>
              </a:defRPr>
            </a:lvl4pPr>
            <a:lvl5pPr marL="1105327" indent="0">
              <a:buNone/>
              <a:defRPr sz="2000">
                <a:solidFill>
                  <a:schemeClr val="bg1"/>
                </a:solidFill>
              </a:defRPr>
            </a:lvl5pPr>
          </a:lstStyle>
          <a:p>
            <a:pPr lvl="0"/>
            <a:r>
              <a:rPr lang="en-US" dirty="0"/>
              <a:t>Speaker Name</a:t>
            </a:r>
          </a:p>
        </p:txBody>
      </p:sp>
      <p:sp>
        <p:nvSpPr>
          <p:cNvPr id="10" name="TextBox 9"/>
          <p:cNvSpPr txBox="1"/>
          <p:nvPr/>
        </p:nvSpPr>
        <p:spPr>
          <a:xfrm>
            <a:off x="7620000" y="381000"/>
            <a:ext cx="3810000" cy="1905000"/>
          </a:xfrm>
          <a:prstGeom prst="rect">
            <a:avLst/>
          </a:prstGeom>
        </p:spPr>
        <p:txBody>
          <a:bodyPr vert="horz" wrap="square" lIns="108805" tIns="54403" rIns="108805" bIns="54403" rtlCol="0" anchor="ctr">
            <a:normAutofit/>
          </a:bodyPr>
          <a:lstStyle/>
          <a:p>
            <a:pPr defTabSz="1087896"/>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2" name="Picture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23676" y="228601"/>
            <a:ext cx="1947103" cy="716042"/>
          </a:xfrm>
          <a:prstGeom prst="rect">
            <a:avLst/>
          </a:prstGeom>
        </p:spPr>
      </p:pic>
      <p:sp>
        <p:nvSpPr>
          <p:cNvPr id="15" name="TextBox 14"/>
          <p:cNvSpPr txBox="1"/>
          <p:nvPr/>
        </p:nvSpPr>
        <p:spPr>
          <a:xfrm>
            <a:off x="7620000" y="381000"/>
            <a:ext cx="3810000" cy="1905000"/>
          </a:xfrm>
          <a:prstGeom prst="rect">
            <a:avLst/>
          </a:prstGeom>
        </p:spPr>
        <p:txBody>
          <a:bodyPr vert="horz" wrap="square" lIns="108805" tIns="54403" rIns="108805" bIns="54403" rtlCol="0" anchor="ctr">
            <a:normAutofit/>
          </a:bodyPr>
          <a:lstStyle/>
          <a:p>
            <a:pPr defTabSz="1087896"/>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9244" y="198358"/>
            <a:ext cx="1947103" cy="716042"/>
          </a:xfrm>
          <a:prstGeom prst="rect">
            <a:avLst/>
          </a:prstGeom>
        </p:spPr>
      </p:pic>
      <p:sp>
        <p:nvSpPr>
          <p:cNvPr id="14" name="TextBox 13"/>
          <p:cNvSpPr txBox="1"/>
          <p:nvPr userDrawn="1"/>
        </p:nvSpPr>
        <p:spPr>
          <a:xfrm>
            <a:off x="7620000" y="381000"/>
            <a:ext cx="3810000" cy="1905000"/>
          </a:xfrm>
          <a:prstGeom prst="rect">
            <a:avLst/>
          </a:prstGeom>
        </p:spPr>
        <p:txBody>
          <a:bodyPr vert="horz" wrap="square" lIns="108805" tIns="54403" rIns="108805" bIns="54403" rtlCol="0" anchor="ctr">
            <a:normAutofit/>
          </a:bodyPr>
          <a:lstStyle/>
          <a:p>
            <a:pPr defTabSz="1087896"/>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9244" y="198358"/>
            <a:ext cx="1947103" cy="716042"/>
          </a:xfrm>
          <a:prstGeom prst="rect">
            <a:avLst/>
          </a:prstGeom>
        </p:spPr>
      </p:pic>
    </p:spTree>
    <p:extLst>
      <p:ext uri="{BB962C8B-B14F-4D97-AF65-F5344CB8AC3E}">
        <p14:creationId xmlns:p14="http://schemas.microsoft.com/office/powerpoint/2010/main" val="2264596565"/>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sp>
        <p:nvSpPr>
          <p:cNvPr id="13" name="Rectangle 12"/>
          <p:cNvSpPr/>
          <p:nvPr/>
        </p:nvSpPr>
        <p:spPr bwMode="gray">
          <a:xfrm>
            <a:off x="150853" y="2057401"/>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3" y="2057400"/>
            <a:ext cx="5487829" cy="2743426"/>
          </a:xfrm>
          <a:noFill/>
        </p:spPr>
        <p:txBody>
          <a:bodyPr vert="horz" lIns="137160" tIns="137160" rIns="137160" bIns="137160" rtlCol="0" anchor="t" anchorCtr="0">
            <a:normAutofit/>
          </a:bodyPr>
          <a:lstStyle>
            <a:lvl1pPr>
              <a:defRPr lang="en-US" sz="4400" spc="-98"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3" y="4800601"/>
            <a:ext cx="5487829" cy="914400"/>
          </a:xfrm>
        </p:spPr>
        <p:txBody>
          <a:bodyPr lIns="137160" tIns="137160" rIns="137160" bIns="137160">
            <a:noAutofit/>
          </a:bodyPr>
          <a:lstStyle>
            <a:lvl1pPr marL="0" indent="0">
              <a:spcBef>
                <a:spcPts val="0"/>
              </a:spcBef>
              <a:buNone/>
              <a:defRPr sz="2000">
                <a:solidFill>
                  <a:schemeClr val="bg1"/>
                </a:solidFill>
              </a:defRPr>
            </a:lvl1pPr>
            <a:lvl2pPr marL="281620" indent="0">
              <a:buNone/>
              <a:defRPr sz="2000">
                <a:solidFill>
                  <a:schemeClr val="bg1"/>
                </a:solidFill>
              </a:defRPr>
            </a:lvl2pPr>
            <a:lvl3pPr marL="588363" indent="0">
              <a:buNone/>
              <a:defRPr sz="2000">
                <a:solidFill>
                  <a:schemeClr val="bg1"/>
                </a:solidFill>
              </a:defRPr>
            </a:lvl3pPr>
            <a:lvl4pPr marL="869983" indent="0">
              <a:buNone/>
              <a:defRPr sz="2000">
                <a:solidFill>
                  <a:schemeClr val="bg1"/>
                </a:solidFill>
              </a:defRPr>
            </a:lvl4pPr>
            <a:lvl5pPr marL="1105327" indent="0">
              <a:buNone/>
              <a:defRPr sz="2000">
                <a:solidFill>
                  <a:schemeClr val="bg1"/>
                </a:solidFill>
              </a:defRPr>
            </a:lvl5pPr>
          </a:lstStyle>
          <a:p>
            <a:pPr lvl="0"/>
            <a:r>
              <a:rPr lang="en-US" dirty="0"/>
              <a:t>Speaker Name</a:t>
            </a:r>
          </a:p>
        </p:txBody>
      </p:sp>
      <p:pic>
        <p:nvPicPr>
          <p:cNvPr id="14" name="Picture 1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1941" y="200780"/>
            <a:ext cx="1947100" cy="716042"/>
          </a:xfrm>
          <a:prstGeom prst="rect">
            <a:avLst/>
          </a:prstGeom>
        </p:spPr>
      </p:pic>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1941" y="200780"/>
            <a:ext cx="1947100" cy="716042"/>
          </a:xfrm>
          <a:prstGeom prst="rect">
            <a:avLst/>
          </a:prstGeom>
        </p:spPr>
      </p:pic>
    </p:spTree>
    <p:extLst>
      <p:ext uri="{BB962C8B-B14F-4D97-AF65-F5344CB8AC3E}">
        <p14:creationId xmlns:p14="http://schemas.microsoft.com/office/powerpoint/2010/main" val="2838995605"/>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dirty="0"/>
              <a:t>Click to add subtitle</a:t>
            </a:r>
          </a:p>
        </p:txBody>
      </p:sp>
      <p:sp>
        <p:nvSpPr>
          <p:cNvPr id="16" name="Text Placeholder 15"/>
          <p:cNvSpPr>
            <a:spLocks noGrp="1"/>
          </p:cNvSpPr>
          <p:nvPr>
            <p:ph type="body" sz="quarter" idx="14"/>
          </p:nvPr>
        </p:nvSpPr>
        <p:spPr>
          <a:xfrm>
            <a:off x="150853" y="1600201"/>
            <a:ext cx="11890296"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1905000" y="6477874"/>
            <a:ext cx="8382000" cy="380127"/>
          </a:xfrm>
        </p:spPr>
        <p:txBody>
          <a:bodyPr/>
          <a:lstStyle/>
          <a:p>
            <a:endParaRPr lang="en-US" dirty="0">
              <a:solidFill>
                <a:srgbClr val="505050"/>
              </a:solidFill>
            </a:endParaRPr>
          </a:p>
        </p:txBody>
      </p:sp>
    </p:spTree>
    <p:extLst>
      <p:ext uri="{BB962C8B-B14F-4D97-AF65-F5344CB8AC3E}">
        <p14:creationId xmlns:p14="http://schemas.microsoft.com/office/powerpoint/2010/main" val="323782866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12648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612648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4" name="Picture 3">
            <a:extLst>
              <a:ext uri="{FF2B5EF4-FFF2-40B4-BE49-F238E27FC236}">
                <a16:creationId xmlns:a16="http://schemas.microsoft.com/office/drawing/2014/main" id="{6557066C-5133-4E22-AE58-F2101DA24DED}"/>
              </a:ext>
            </a:extLst>
          </p:cNvPr>
          <p:cNvPicPr>
            <a:picLocks noChangeAspect="1"/>
          </p:cNvPicPr>
          <p:nvPr userDrawn="1"/>
        </p:nvPicPr>
        <p:blipFill rotWithShape="1">
          <a:blip r:embed="rId2"/>
          <a:srcRect l="487" t="16931" r="33333" b="24211"/>
          <a:stretch/>
        </p:blipFill>
        <p:spPr bwMode="invGray">
          <a:xfrm>
            <a:off x="5098119" y="585788"/>
            <a:ext cx="7093880" cy="6272211"/>
          </a:xfrm>
          <a:prstGeom prst="rect">
            <a:avLst/>
          </a:prstGeom>
        </p:spPr>
      </p:pic>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dirty="0"/>
              <a:t>Click to add subtitle</a:t>
            </a:r>
          </a:p>
        </p:txBody>
      </p:sp>
      <p:sp>
        <p:nvSpPr>
          <p:cNvPr id="3" name="Footer Placeholder 2"/>
          <p:cNvSpPr>
            <a:spLocks noGrp="1"/>
          </p:cNvSpPr>
          <p:nvPr>
            <p:ph type="ftr" sz="quarter" idx="14"/>
          </p:nvPr>
        </p:nvSpPr>
        <p:spPr/>
        <p:txBody>
          <a:bodyPr/>
          <a:lstStyle/>
          <a:p>
            <a:pPr defTabSz="1087896"/>
            <a:endParaRPr lang="en-US" dirty="0">
              <a:solidFill>
                <a:srgbClr val="505050"/>
              </a:solidFill>
            </a:endParaRPr>
          </a:p>
        </p:txBody>
      </p:sp>
      <p:sp>
        <p:nvSpPr>
          <p:cNvPr id="7" name="Slide Number Placeholder 6"/>
          <p:cNvSpPr>
            <a:spLocks noGrp="1"/>
          </p:cNvSpPr>
          <p:nvPr>
            <p:ph type="sldNum" sz="quarter" idx="15"/>
          </p:nvPr>
        </p:nvSpPr>
        <p:spPr/>
        <p:txBody>
          <a:bodyPr/>
          <a:lstStyle/>
          <a:p>
            <a:pPr defTabSz="1087896"/>
            <a:fld id="{FAADACFB-7C71-4E89-89D2-7BBA40B7BFA9}" type="slidenum">
              <a:rPr lang="en-US" smtClean="0">
                <a:solidFill>
                  <a:srgbClr val="505050"/>
                </a:solidFill>
              </a:rPr>
              <a:pPr defTabSz="1087896"/>
              <a:t>‹#›</a:t>
            </a:fld>
            <a:endParaRPr lang="en-US" dirty="0">
              <a:solidFill>
                <a:srgbClr val="505050"/>
              </a:solidFill>
            </a:endParaRPr>
          </a:p>
        </p:txBody>
      </p:sp>
    </p:spTree>
    <p:extLst>
      <p:ext uri="{BB962C8B-B14F-4D97-AF65-F5344CB8AC3E}">
        <p14:creationId xmlns:p14="http://schemas.microsoft.com/office/powerpoint/2010/main" val="3381015944"/>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150853" y="1600200"/>
            <a:ext cx="11890296" cy="44958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620" indent="0">
              <a:buNone/>
              <a:defRPr>
                <a:solidFill>
                  <a:schemeClr val="tx1"/>
                </a:solidFill>
                <a:latin typeface="Courier New" pitchFamily="49" charset="0"/>
                <a:cs typeface="Courier New" pitchFamily="49" charset="0"/>
              </a:defRPr>
            </a:lvl2pPr>
            <a:lvl3pPr marL="588363" indent="0">
              <a:buNone/>
              <a:defRPr>
                <a:solidFill>
                  <a:schemeClr val="tx1"/>
                </a:solidFill>
                <a:latin typeface="Courier New" pitchFamily="49" charset="0"/>
                <a:cs typeface="Courier New" pitchFamily="49" charset="0"/>
              </a:defRPr>
            </a:lvl3pPr>
            <a:lvl4pPr marL="869983" indent="0">
              <a:buNone/>
              <a:defRPr>
                <a:solidFill>
                  <a:schemeClr val="tx1"/>
                </a:solidFill>
                <a:latin typeface="Courier New" pitchFamily="49" charset="0"/>
                <a:cs typeface="Courier New" pitchFamily="49" charset="0"/>
              </a:defRPr>
            </a:lvl4pPr>
            <a:lvl5pPr marL="1105327"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1521114580"/>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1224748429"/>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4" y="1143002"/>
            <a:ext cx="10061019" cy="2734277"/>
          </a:xfrm>
          <a:noFill/>
        </p:spPr>
        <p:txBody>
          <a:bodyPr lIns="137160" tIns="137160" rIns="137160" bIns="137160" anchor="t" anchorCtr="0"/>
          <a:lstStyle>
            <a:lvl1pPr>
              <a:defRPr sz="7098"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50852" y="3877278"/>
            <a:ext cx="10061021" cy="1837723"/>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25950576"/>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0854"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4"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4" y="1143001"/>
            <a:ext cx="10061019" cy="2734277"/>
          </a:xfrm>
          <a:noFill/>
        </p:spPr>
        <p:txBody>
          <a:bodyPr lIns="137160" tIns="137160" rIns="137160" bIns="137160" anchor="t" anchorCtr="0"/>
          <a:lstStyle>
            <a:lvl1pPr>
              <a:defRPr sz="7098" spc="-98" baseline="0">
                <a:gradFill>
                  <a:gsLst>
                    <a:gs pos="5833">
                      <a:srgbClr val="FFFFFF"/>
                    </a:gs>
                    <a:gs pos="18000">
                      <a:srgbClr val="FFFFFF"/>
                    </a:gs>
                  </a:gsLst>
                  <a:lin ang="5400000" scaled="0"/>
                </a:gradFill>
              </a:defRPr>
            </a:lvl1pPr>
          </a:lstStyle>
          <a:p>
            <a:r>
              <a:rPr lang="en-US" dirty="0"/>
              <a:t>Video title</a:t>
            </a:r>
          </a:p>
        </p:txBody>
      </p:sp>
      <p:sp>
        <p:nvSpPr>
          <p:cNvPr id="5" name="Text Placeholder 4"/>
          <p:cNvSpPr>
            <a:spLocks noGrp="1"/>
          </p:cNvSpPr>
          <p:nvPr>
            <p:ph type="body" sz="quarter" idx="12" hasCustomPrompt="1"/>
          </p:nvPr>
        </p:nvSpPr>
        <p:spPr>
          <a:xfrm>
            <a:off x="150852" y="3886200"/>
            <a:ext cx="10061020" cy="1828800"/>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4"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994409258"/>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2"/>
            <a:ext cx="11890296" cy="1822988"/>
          </a:xfrm>
          <a:noFill/>
        </p:spPr>
        <p:txBody>
          <a:bodyPr lIns="137160" tIns="137160" rIns="137160" bIns="137160" anchor="t" anchorCtr="0"/>
          <a:lstStyle>
            <a:lvl1pPr>
              <a:defRPr sz="8598"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92" indent="-190392">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7896"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10981198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2"/>
            <a:ext cx="11890296" cy="1822988"/>
          </a:xfrm>
          <a:noFill/>
        </p:spPr>
        <p:txBody>
          <a:bodyPr lIns="137160" tIns="137160" rIns="137160" bIns="137160" anchor="t" anchorCtr="0"/>
          <a:lstStyle>
            <a:lvl1pPr>
              <a:defRPr sz="8598"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92" indent="-190392">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7896"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15184618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2"/>
            <a:ext cx="11890296" cy="1822988"/>
          </a:xfrm>
          <a:noFill/>
        </p:spPr>
        <p:txBody>
          <a:bodyPr lIns="137160" tIns="137160" rIns="137160" bIns="137160" anchor="t" anchorCtr="0"/>
          <a:lstStyle>
            <a:lvl1pPr>
              <a:defRPr sz="8598"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92" indent="-190392">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7896"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38093668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sp>
        <p:nvSpPr>
          <p:cNvPr id="4" name="Rectangle 3"/>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sp>
        <p:nvSpPr>
          <p:cNvPr id="8" name="Rectangle 7"/>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234" y="2899240"/>
            <a:ext cx="2881117" cy="1059525"/>
          </a:xfrm>
          <a:prstGeom prst="rect">
            <a:avLst/>
          </a:prstGeom>
        </p:spPr>
      </p:pic>
      <p:sp>
        <p:nvSpPr>
          <p:cNvPr id="6" name="Rectangle 5"/>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234" y="2899240"/>
            <a:ext cx="2881117" cy="1059525"/>
          </a:xfrm>
          <a:prstGeom prst="rect">
            <a:avLst/>
          </a:prstGeom>
        </p:spPr>
      </p:pic>
      <p:sp>
        <p:nvSpPr>
          <p:cNvPr id="9" name="Rectangle 8"/>
          <p:cNvSpPr/>
          <p:nvPr userDrawn="1"/>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8878" y="2901952"/>
            <a:ext cx="2845008" cy="1046245"/>
          </a:xfrm>
          <a:prstGeom prst="rect">
            <a:avLst/>
          </a:prstGeom>
        </p:spPr>
      </p:pic>
    </p:spTree>
    <p:extLst>
      <p:ext uri="{BB962C8B-B14F-4D97-AF65-F5344CB8AC3E}">
        <p14:creationId xmlns:p14="http://schemas.microsoft.com/office/powerpoint/2010/main" val="629390585"/>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3" name="Slide Number Placeholder 2"/>
          <p:cNvSpPr>
            <a:spLocks noGrp="1"/>
          </p:cNvSpPr>
          <p:nvPr>
            <p:ph type="sldNum" sz="quarter" idx="14"/>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092942993"/>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126480" cy="498598"/>
          </a:xfrm>
          <a:noFill/>
        </p:spPr>
        <p:txBody>
          <a:bodyPr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pic>
        <p:nvPicPr>
          <p:cNvPr id="3" name="Picture 2">
            <a:extLst>
              <a:ext uri="{FF2B5EF4-FFF2-40B4-BE49-F238E27FC236}">
                <a16:creationId xmlns:a16="http://schemas.microsoft.com/office/drawing/2014/main" id="{6AC853EF-249B-4DEC-B679-038CCEA0B936}"/>
              </a:ext>
            </a:extLst>
          </p:cNvPr>
          <p:cNvPicPr>
            <a:picLocks noChangeAspect="1"/>
          </p:cNvPicPr>
          <p:nvPr userDrawn="1"/>
        </p:nvPicPr>
        <p:blipFill rotWithShape="1">
          <a:blip r:embed="rId2"/>
          <a:srcRect l="487" t="16931" r="33333" b="24211"/>
          <a:stretch/>
        </p:blipFill>
        <p:spPr bwMode="invGray">
          <a:xfrm>
            <a:off x="5098119" y="585788"/>
            <a:ext cx="7093880" cy="6272211"/>
          </a:xfrm>
          <a:prstGeom prst="rect">
            <a:avLst/>
          </a:prstGeom>
        </p:spPr>
      </p:pic>
    </p:spTree>
    <p:extLst>
      <p:ext uri="{BB962C8B-B14F-4D97-AF65-F5344CB8AC3E}">
        <p14:creationId xmlns:p14="http://schemas.microsoft.com/office/powerpoint/2010/main" val="5555108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userDrawn="1">
          <p15:clr>
            <a:srgbClr val="5ACBF0"/>
          </p15:clr>
        </p15:guide>
        <p15:guide id="3" orient="horz" pos="1914" userDrawn="1">
          <p15:clr>
            <a:srgbClr val="5ACBF0"/>
          </p15:clr>
        </p15:guide>
        <p15:guide id="4" orient="horz" pos="2505" userDrawn="1">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rgbClr val="505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178193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132CD"/>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19"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9" name="Group 8"/>
          <p:cNvGrpSpPr/>
          <p:nvPr userDrawn="1"/>
        </p:nvGrpSpPr>
        <p:grpSpPr>
          <a:xfrm>
            <a:off x="11004178" y="6517755"/>
            <a:ext cx="950755" cy="215444"/>
            <a:chOff x="7082843" y="4126456"/>
            <a:chExt cx="1278066" cy="289613"/>
          </a:xfrm>
        </p:grpSpPr>
        <p:sp>
          <p:nvSpPr>
            <p:cNvPr id="11" name="TextBox 10"/>
            <p:cNvSpPr txBox="1"/>
            <p:nvPr/>
          </p:nvSpPr>
          <p:spPr>
            <a:xfrm>
              <a:off x="7237513" y="4126456"/>
              <a:ext cx="1123396" cy="289613"/>
            </a:xfrm>
            <a:prstGeom prst="rect">
              <a:avLst/>
            </a:prstGeom>
            <a:noFill/>
          </p:spPr>
          <p:txBody>
            <a:bodyPr wrap="square" rtlCol="0">
              <a:spAutoFit/>
            </a:bodyPr>
            <a:lstStyle/>
            <a:p>
              <a:r>
                <a:rPr lang="en-GB" sz="800" b="1" dirty="0">
                  <a:latin typeface="Segoe UI" panose="020B0502040204020203" pitchFamily="34" charset="0"/>
                  <a:cs typeface="Segoe UI" panose="020B0502040204020203" pitchFamily="34" charset="0"/>
                </a:rPr>
                <a:t>MICROSOFT</a:t>
              </a:r>
            </a:p>
          </p:txBody>
        </p:sp>
        <p:sp>
          <p:nvSpPr>
            <p:cNvPr id="12" name="Rectangle 11"/>
            <p:cNvSpPr/>
            <p:nvPr/>
          </p:nvSpPr>
          <p:spPr>
            <a:xfrm flipV="1">
              <a:off x="7082843" y="4270246"/>
              <a:ext cx="82411" cy="8241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13" name="Rectangle 12"/>
            <p:cNvSpPr/>
            <p:nvPr/>
          </p:nvSpPr>
          <p:spPr>
            <a:xfrm flipV="1">
              <a:off x="7180851" y="4270246"/>
              <a:ext cx="82411" cy="8241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14" name="Rectangle 13"/>
            <p:cNvSpPr/>
            <p:nvPr/>
          </p:nvSpPr>
          <p:spPr>
            <a:xfrm flipV="1">
              <a:off x="7082843" y="4172238"/>
              <a:ext cx="82411" cy="8241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15" name="Rectangle 14"/>
            <p:cNvSpPr/>
            <p:nvPr/>
          </p:nvSpPr>
          <p:spPr>
            <a:xfrm flipV="1">
              <a:off x="7180851" y="4172238"/>
              <a:ext cx="82411" cy="8241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grpSp>
      <p:cxnSp>
        <p:nvCxnSpPr>
          <p:cNvPr id="10" name="Straight Connector 9"/>
          <p:cNvCxnSpPr/>
          <p:nvPr userDrawn="1"/>
        </p:nvCxnSpPr>
        <p:spPr>
          <a:xfrm>
            <a:off x="10874587" y="6532880"/>
            <a:ext cx="0" cy="196427"/>
          </a:xfrm>
          <a:prstGeom prst="line">
            <a:avLst/>
          </a:prstGeom>
          <a:ln w="3175">
            <a:solidFill>
              <a:schemeClr val="tx1">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118896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4_Walkin">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sp>
        <p:nvSpPr>
          <p:cNvPr id="4" name="Title 3"/>
          <p:cNvSpPr>
            <a:spLocks noGrp="1"/>
          </p:cNvSpPr>
          <p:nvPr>
            <p:ph type="title"/>
          </p:nvPr>
        </p:nvSpPr>
        <p:spPr>
          <a:xfrm>
            <a:off x="274638" y="2267326"/>
            <a:ext cx="11087629" cy="1200622"/>
          </a:xfrm>
        </p:spPr>
        <p:txBody>
          <a:bodyPr/>
          <a:lstStyle>
            <a:lvl1pPr>
              <a:defRPr sz="7200"/>
            </a:lvl1pPr>
          </a:lstStyle>
          <a:p>
            <a:r>
              <a:rPr lang="en-US"/>
              <a:t>Click to edit Master title style</a:t>
            </a:r>
          </a:p>
        </p:txBody>
      </p:sp>
      <p:sp>
        <p:nvSpPr>
          <p:cNvPr id="5" name="Text Placeholder 4"/>
          <p:cNvSpPr>
            <a:spLocks noGrp="1"/>
          </p:cNvSpPr>
          <p:nvPr>
            <p:ph type="body" sz="quarter" idx="10" hasCustomPrompt="1"/>
          </p:nvPr>
        </p:nvSpPr>
        <p:spPr>
          <a:xfrm>
            <a:off x="274638" y="3490913"/>
            <a:ext cx="8721725" cy="517065"/>
          </a:xfrm>
        </p:spPr>
        <p:txBody>
          <a:bodyPr/>
          <a:lstStyle>
            <a:lvl1pPr marL="0" indent="0">
              <a:buNone/>
              <a:defRPr sz="2400" baseline="0"/>
            </a:lvl1pPr>
          </a:lstStyle>
          <a:p>
            <a:pPr lvl="0"/>
            <a:r>
              <a:rPr lang="en-US"/>
              <a:t>Click to add text</a:t>
            </a:r>
          </a:p>
        </p:txBody>
      </p:sp>
    </p:spTree>
    <p:extLst>
      <p:ext uri="{BB962C8B-B14F-4D97-AF65-F5344CB8AC3E}">
        <p14:creationId xmlns:p14="http://schemas.microsoft.com/office/powerpoint/2010/main" val="10654111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bwMode="invGray">
          <a:xfrm>
            <a:off x="1" y="-1"/>
            <a:ext cx="5840360" cy="6858624"/>
          </a:xfrm>
          <a:prstGeom prst="rect">
            <a:avLst/>
          </a:prstGeom>
          <a:solidFill>
            <a:srgbClr val="0132C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2"/>
          <p:cNvSpPr txBox="1">
            <a:spLocks/>
          </p:cNvSpPr>
          <p:nvPr userDrawn="1"/>
        </p:nvSpPr>
        <p:spPr>
          <a:xfrm>
            <a:off x="347898" y="2039653"/>
            <a:ext cx="460756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72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dirty="0">
                <a:solidFill>
                  <a:schemeClr val="bg1"/>
                </a:solidFill>
              </a:rPr>
              <a:t>Click to edit Master title style</a:t>
            </a:r>
          </a:p>
        </p:txBody>
      </p:sp>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81158"/>
            <a:ext cx="1421436" cy="300619"/>
          </a:xfrm>
          <a:prstGeom prst="rect">
            <a:avLst/>
          </a:prstGeom>
        </p:spPr>
      </p:pic>
    </p:spTree>
    <p:extLst>
      <p:ext uri="{BB962C8B-B14F-4D97-AF65-F5344CB8AC3E}">
        <p14:creationId xmlns:p14="http://schemas.microsoft.com/office/powerpoint/2010/main" val="42389130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Title &amp; 2-color Non-bulleted text">
    <p:bg>
      <p:bgPr>
        <a:solidFill>
          <a:srgbClr val="28282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bg1"/>
                </a:solidFill>
              </a:defRPr>
            </a:lvl1pPr>
            <a:lvl2pPr marL="0" indent="0">
              <a:buFontTx/>
              <a:buNone/>
              <a:defRPr sz="1961">
                <a:solidFill>
                  <a:schemeClr val="bg1"/>
                </a:solidFill>
              </a:defRPr>
            </a:lvl2pPr>
            <a:lvl3pPr marL="224097" indent="0">
              <a:buNone/>
              <a:defRPr>
                <a:solidFill>
                  <a:schemeClr val="bg1"/>
                </a:solidFill>
              </a:defRPr>
            </a:lvl3pPr>
            <a:lvl4pPr marL="448193" indent="0">
              <a:buNone/>
              <a:defRPr>
                <a:solidFill>
                  <a:schemeClr val="bg1"/>
                </a:solidFill>
              </a:defRPr>
            </a:lvl4pPr>
            <a:lvl5pPr marL="672290" indent="0">
              <a:buNone/>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822085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1_Title &amp; 2-color Non-bulleted text">
    <p:bg>
      <p:bgPr>
        <a:solidFill>
          <a:srgbClr val="0132CD"/>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bg1"/>
                </a:solidFill>
              </a:defRPr>
            </a:lvl1pPr>
            <a:lvl2pPr marL="0" indent="0">
              <a:buFontTx/>
              <a:buNone/>
              <a:defRPr sz="1961">
                <a:solidFill>
                  <a:schemeClr val="bg1"/>
                </a:solidFill>
              </a:defRPr>
            </a:lvl2pPr>
            <a:lvl3pPr marL="224097" indent="0">
              <a:buNone/>
              <a:defRPr>
                <a:solidFill>
                  <a:schemeClr val="bg1"/>
                </a:solidFill>
              </a:defRPr>
            </a:lvl3pPr>
            <a:lvl4pPr marL="448193" indent="0">
              <a:buNone/>
              <a:defRPr>
                <a:solidFill>
                  <a:schemeClr val="bg1"/>
                </a:solidFill>
              </a:defRPr>
            </a:lvl4pPr>
            <a:lvl5pPr marL="672290" indent="0">
              <a:buNone/>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948047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1_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188067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9809518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659224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4"/>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4"/>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133724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13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650358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userDrawn="1">
          <p15:clr>
            <a:srgbClr val="FBAE40"/>
          </p15:clr>
        </p15:guide>
        <p15:guide id="2" pos="6127" userDrawn="1">
          <p15:clr>
            <a:srgbClr val="5ACBF0"/>
          </p15:clr>
        </p15:guide>
        <p15:guide id="3" orient="horz" pos="1911" userDrawn="1">
          <p15:clr>
            <a:srgbClr val="5ACBF0"/>
          </p15:clr>
        </p15:guide>
        <p15:guide id="4" orient="horz" pos="2505" userDrawn="1">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53431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accent4"/>
              </a:buClr>
              <a:buFont typeface="Arial" pitchFamily="34" charset="0"/>
              <a:buChar char="•"/>
              <a:defRPr sz="3137">
                <a:solidFill>
                  <a:schemeClr val="accent4"/>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accent4"/>
              </a:buClr>
              <a:buFont typeface="Arial" pitchFamily="34" charset="0"/>
              <a:buChar char="•"/>
              <a:defRPr sz="3137">
                <a:solidFill>
                  <a:schemeClr val="accent4"/>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4170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486189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800895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46735790"/>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4967731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Video title</a:t>
            </a:r>
          </a:p>
        </p:txBody>
      </p:sp>
    </p:spTree>
    <p:extLst>
      <p:ext uri="{BB962C8B-B14F-4D97-AF65-F5344CB8AC3E}">
        <p14:creationId xmlns:p14="http://schemas.microsoft.com/office/powerpoint/2010/main" val="20248174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7131439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267345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9499208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540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427829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1_50-50 Right Photo Layout">
    <p:bg>
      <p:bgPr>
        <a:solidFill>
          <a:srgbClr val="F8F8F8"/>
        </a:solidFill>
        <a:effectLst/>
      </p:bgPr>
    </p:bg>
    <p:spTree>
      <p:nvGrpSpPr>
        <p:cNvPr id="1" name=""/>
        <p:cNvGrpSpPr/>
        <p:nvPr/>
      </p:nvGrpSpPr>
      <p:grpSpPr>
        <a:xfrm>
          <a:off x="0" y="0"/>
          <a:ext cx="0" cy="0"/>
          <a:chOff x="0" y="0"/>
          <a:chExt cx="0" cy="0"/>
        </a:xfrm>
      </p:grpSpPr>
      <p:sp>
        <p:nvSpPr>
          <p:cNvPr id="6" name="Rectangle 5"/>
          <p:cNvSpPr/>
          <p:nvPr userDrawn="1"/>
        </p:nvSpPr>
        <p:spPr bwMode="auto">
          <a:xfrm>
            <a:off x="6090699" y="-39757"/>
            <a:ext cx="6101301" cy="6933538"/>
          </a:xfrm>
          <a:prstGeom prst="rect">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a:t>50/50 photo layout</a:t>
            </a:r>
          </a:p>
        </p:txBody>
      </p:sp>
      <p:sp>
        <p:nvSpPr>
          <p:cNvPr id="4" name="Text Placeholder 3"/>
          <p:cNvSpPr>
            <a:spLocks noGrp="1"/>
          </p:cNvSpPr>
          <p:nvPr>
            <p:ph type="body" sz="quarter" idx="11"/>
          </p:nvPr>
        </p:nvSpPr>
        <p:spPr>
          <a:xfrm>
            <a:off x="6361043" y="234562"/>
            <a:ext cx="5526158" cy="632837"/>
          </a:xfrm>
        </p:spPr>
        <p:txBody>
          <a:bodyPr/>
          <a:lstStyle>
            <a:lvl1pPr marL="0" indent="0">
              <a:buNone/>
              <a:defRPr>
                <a:solidFill>
                  <a:schemeClr val="bg1"/>
                </a:solidFill>
              </a:defRPr>
            </a:lvl1pPr>
            <a:lvl2pPr marL="336145" indent="0">
              <a:buNone/>
              <a:defRPr>
                <a:solidFill>
                  <a:schemeClr val="bg1"/>
                </a:solidFill>
              </a:defRPr>
            </a:lvl2pPr>
            <a:lvl3pPr marL="560241" indent="0">
              <a:buNone/>
              <a:defRPr>
                <a:solidFill>
                  <a:schemeClr val="bg1"/>
                </a:solidFill>
              </a:defRPr>
            </a:lvl3pPr>
            <a:lvl4pPr marL="784338" indent="0">
              <a:buNone/>
              <a:defRPr>
                <a:solidFill>
                  <a:schemeClr val="bg1"/>
                </a:solidFill>
              </a:defRPr>
            </a:lvl4pPr>
            <a:lvl5pPr marL="1008434" indent="0">
              <a:buNone/>
              <a:defRPr>
                <a:solidFill>
                  <a:schemeClr val="bg1"/>
                </a:solidFill>
              </a:defRPr>
            </a:lvl5pPr>
          </a:lstStyle>
          <a:p>
            <a:pPr lvl="0"/>
            <a:r>
              <a:rPr lang="en-US"/>
              <a:t>Edit Master text styles</a:t>
            </a:r>
          </a:p>
        </p:txBody>
      </p:sp>
      <p:sp>
        <p:nvSpPr>
          <p:cNvPr id="7" name="Text Placeholder 3"/>
          <p:cNvSpPr>
            <a:spLocks noGrp="1"/>
          </p:cNvSpPr>
          <p:nvPr>
            <p:ph type="body" sz="quarter" idx="12"/>
          </p:nvPr>
        </p:nvSpPr>
        <p:spPr>
          <a:xfrm>
            <a:off x="6675438" y="1180767"/>
            <a:ext cx="5116346" cy="3975654"/>
          </a:xfrm>
        </p:spPr>
        <p:txBody>
          <a:bodyPr/>
          <a:lstStyle>
            <a:lvl1pPr marL="0" indent="0">
              <a:buNone/>
              <a:defRPr>
                <a:solidFill>
                  <a:schemeClr val="bg1"/>
                </a:solidFill>
              </a:defRPr>
            </a:lvl1pPr>
            <a:lvl2pPr marL="336145" indent="0">
              <a:buNone/>
              <a:defRPr>
                <a:solidFill>
                  <a:schemeClr val="bg1"/>
                </a:solidFill>
              </a:defRPr>
            </a:lvl2pPr>
            <a:lvl3pPr marL="560241" indent="0">
              <a:buNone/>
              <a:defRPr>
                <a:solidFill>
                  <a:schemeClr val="bg1"/>
                </a:solidFill>
              </a:defRPr>
            </a:lvl3pPr>
            <a:lvl4pPr marL="784338" indent="0">
              <a:buNone/>
              <a:defRPr>
                <a:solidFill>
                  <a:schemeClr val="bg1"/>
                </a:solidFill>
              </a:defRPr>
            </a:lvl4pPr>
            <a:lvl5pPr marL="1008434" indent="0">
              <a:buNone/>
              <a:defRPr>
                <a:solidFill>
                  <a:schemeClr val="bg1"/>
                </a:solidFill>
              </a:defRPr>
            </a:lvl5pPr>
          </a:lstStyle>
          <a:p>
            <a:pPr lvl="0"/>
            <a:r>
              <a:rPr lang="en-US"/>
              <a:t>Edit Master text styles</a:t>
            </a:r>
          </a:p>
        </p:txBody>
      </p:sp>
    </p:spTree>
    <p:extLst>
      <p:ext uri="{BB962C8B-B14F-4D97-AF65-F5344CB8AC3E}">
        <p14:creationId xmlns:p14="http://schemas.microsoft.com/office/powerpoint/2010/main" val="25128243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2642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077813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63191467"/>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8679946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0DB40CD-1F4C-4AE8-81E2-E5C7743C6DB9}" type="datetimeFigureOut">
              <a:rPr lang="en-GB" smtClean="0"/>
              <a:t>26/11/2018</a:t>
            </a:fld>
            <a:endParaRPr lang="en-GB" dirty="0"/>
          </a:p>
        </p:txBody>
      </p:sp>
      <p:sp>
        <p:nvSpPr>
          <p:cNvPr id="3" name="Footer Placeholder 2"/>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fld id="{974E5F3E-9604-4418-8E10-BA5C14B5081C}" type="slidenum">
              <a:rPr lang="en-GB" smtClean="0"/>
              <a:t>‹#›</a:t>
            </a:fld>
            <a:endParaRPr lang="en-GB" dirty="0"/>
          </a:p>
        </p:txBody>
      </p:sp>
    </p:spTree>
    <p:extLst>
      <p:ext uri="{BB962C8B-B14F-4D97-AF65-F5344CB8AC3E}">
        <p14:creationId xmlns:p14="http://schemas.microsoft.com/office/powerpoint/2010/main" val="632988902"/>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userDrawn="1">
  <p:cSld name="White 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471340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userDrawn="1">
  <p:cSld name="6_Title and Conten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3250" y="357188"/>
            <a:ext cx="10922000" cy="1325563"/>
          </a:xfrm>
        </p:spPr>
        <p:txBody>
          <a:bodyPr>
            <a:normAutofit/>
          </a:bodyPr>
          <a:lstStyle>
            <a:lvl1pPr>
              <a:defRPr sz="4000">
                <a:solidFill>
                  <a:schemeClr val="bg1"/>
                </a:solidFill>
                <a:latin typeface="Segoe UI Bold" panose="020B0802040204020203" pitchFamily="34" charset="0"/>
                <a:cs typeface="Segoe UI Bold" panose="020B0802040204020203" pitchFamily="34" charset="0"/>
              </a:defRPr>
            </a:lvl1pPr>
          </a:lstStyle>
          <a:p>
            <a:r>
              <a:rPr lang="en-US"/>
              <a:t>Click to edit Master title style</a:t>
            </a:r>
          </a:p>
        </p:txBody>
      </p:sp>
      <p:sp>
        <p:nvSpPr>
          <p:cNvPr id="3" name="Content Placeholder 2"/>
          <p:cNvSpPr>
            <a:spLocks noGrp="1"/>
          </p:cNvSpPr>
          <p:nvPr>
            <p:ph idx="1"/>
          </p:nvPr>
        </p:nvSpPr>
        <p:spPr>
          <a:xfrm>
            <a:off x="1174750" y="2201334"/>
            <a:ext cx="10350500" cy="2021836"/>
          </a:xfrm>
        </p:spPr>
        <p:txBody>
          <a:bodyPr/>
          <a:lstStyle>
            <a:lvl1pPr marL="0" indent="0">
              <a:lnSpc>
                <a:spcPct val="100000"/>
              </a:lnSpc>
              <a:buNone/>
              <a:defRPr sz="3333">
                <a:solidFill>
                  <a:schemeClr val="bg1"/>
                </a:solidFill>
                <a:latin typeface="Segoe UI Semilight" panose="020B0402040204020203" pitchFamily="34" charset="0"/>
                <a:cs typeface="Segoe UI Semilight" panose="020B0402040204020203" pitchFamily="34" charset="0"/>
              </a:defRPr>
            </a:lvl1pPr>
            <a:lvl2pPr marL="457163" indent="0">
              <a:buNone/>
              <a:defRPr sz="2333">
                <a:solidFill>
                  <a:schemeClr val="bg1"/>
                </a:solidFill>
              </a:defRPr>
            </a:lvl2pPr>
            <a:lvl3pPr marL="914327" indent="0">
              <a:buNone/>
              <a:defRPr>
                <a:solidFill>
                  <a:schemeClr val="bg1"/>
                </a:solidFill>
              </a:defRPr>
            </a:lvl3pPr>
            <a:lvl4pPr marL="1371490" indent="0">
              <a:buNone/>
              <a:defRPr>
                <a:solidFill>
                  <a:schemeClr val="bg1"/>
                </a:solidFill>
              </a:defRPr>
            </a:lvl4pPr>
            <a:lvl5pPr marL="1828654" indent="0">
              <a:buNone/>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10016234"/>
      </p:ext>
    </p:extLst>
  </p:cSld>
  <p:clrMapOvr>
    <a:masterClrMapping/>
  </p:clrMapOvr>
  <p:extLst mod="1">
    <p:ext uri="{DCECCB84-F9BA-43D5-87BE-67443E8EF086}">
      <p15:sldGuideLst xmlns:p15="http://schemas.microsoft.com/office/powerpoint/2012/main">
        <p15:guide id="1" orient="horz" pos="1272">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 Placeholder 3"/>
          <p:cNvSpPr>
            <a:spLocks noGrp="1"/>
          </p:cNvSpPr>
          <p:nvPr>
            <p:ph type="body" sz="quarter" idx="10"/>
          </p:nvPr>
        </p:nvSpPr>
        <p:spPr>
          <a:xfrm>
            <a:off x="269240" y="2092121"/>
            <a:ext cx="11653523" cy="1462773"/>
          </a:xfrm>
        </p:spPr>
        <p:txBody>
          <a:bodyPr>
            <a:spAutoFit/>
          </a:bodyPr>
          <a:lstStyle>
            <a:lvl1pPr marL="0" indent="0">
              <a:buFontTx/>
              <a:buNone/>
              <a:defRPr sz="1567"/>
            </a:lvl1pPr>
            <a:lvl2pPr>
              <a:defRPr sz="1567"/>
            </a:lvl2pPr>
            <a:lvl3pPr>
              <a:defRPr sz="1567"/>
            </a:lvl3pPr>
            <a:lvl4pPr>
              <a:defRPr sz="1567"/>
            </a:lvl4pPr>
            <a:lvl5pPr>
              <a:defRPr sz="15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70413438"/>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Event Title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21569"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8785274" cy="6858000"/>
          </a:xfrm>
          <a:prstGeom prst="rect">
            <a:avLst/>
          </a:prstGeom>
          <a:gradFill flip="none" rotWithShape="1">
            <a:gsLst>
              <a:gs pos="44000">
                <a:srgbClr val="000000">
                  <a:alpha val="48000"/>
                </a:srgbClr>
              </a:gs>
              <a:gs pos="0">
                <a:srgbClr val="000000">
                  <a:alpha val="7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1627" y="4518926"/>
            <a:ext cx="6260678" cy="1019980"/>
          </a:xfrm>
        </p:spPr>
        <p:txBody>
          <a:bodyPr anchor="t"/>
          <a:lstStyle>
            <a:lvl1pPr marL="0" indent="0">
              <a:buNone/>
              <a:defRPr sz="2353">
                <a:solidFill>
                  <a:schemeClr val="bg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27332" y="2084171"/>
            <a:ext cx="6275850" cy="2120726"/>
          </a:xfrm>
        </p:spPr>
        <p:txBody>
          <a:bodyPr anchor="b"/>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6" name="Picture 5">
            <a:extLst>
              <a:ext uri="{FF2B5EF4-FFF2-40B4-BE49-F238E27FC236}">
                <a16:creationId xmlns:a16="http://schemas.microsoft.com/office/drawing/2014/main" id="{00DFD317-5BA3-438A-B299-DBB19373E36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Tree>
    <p:extLst>
      <p:ext uri="{BB962C8B-B14F-4D97-AF65-F5344CB8AC3E}">
        <p14:creationId xmlns:p14="http://schemas.microsoft.com/office/powerpoint/2010/main" val="104094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extLst mod="1">
    <p:ext uri="{DCECCB84-F9BA-43D5-87BE-67443E8EF086}">
      <p15:sldGuideLst xmlns:p15="http://schemas.microsoft.com/office/powerpoint/2012/main">
        <p15:guide id="1" orient="horz" pos="1272" userDrawn="1">
          <p15:clr>
            <a:srgbClr val="5ACBF0"/>
          </p15:clr>
        </p15:guide>
        <p15:guide id="2" orient="horz" pos="904" userDrawn="1">
          <p15:clr>
            <a:srgbClr val="5ACBF0"/>
          </p15:clr>
        </p15:guide>
        <p15:guide id="3" orient="horz" pos="288" userDrawn="1">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Event Title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7783"/>
            <a:ext cx="12196948"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1627" y="4518926"/>
            <a:ext cx="6260678" cy="1019980"/>
          </a:xfrm>
        </p:spPr>
        <p:txBody>
          <a:bodyPr anchor="t"/>
          <a:lstStyle>
            <a:lvl1pPr marL="0" indent="0">
              <a:buNone/>
              <a:defRPr sz="2353">
                <a:solidFill>
                  <a:schemeClr val="bg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27332" y="2084171"/>
            <a:ext cx="6275850" cy="2120726"/>
          </a:xfrm>
        </p:spPr>
        <p:txBody>
          <a:bodyPr anchor="b"/>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6" name="Picture 5">
            <a:extLst>
              <a:ext uri="{FF2B5EF4-FFF2-40B4-BE49-F238E27FC236}">
                <a16:creationId xmlns:a16="http://schemas.microsoft.com/office/drawing/2014/main" id="{00DFD317-5BA3-438A-B299-DBB19373E36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Tree>
    <p:extLst>
      <p:ext uri="{BB962C8B-B14F-4D97-AF65-F5344CB8AC3E}">
        <p14:creationId xmlns:p14="http://schemas.microsoft.com/office/powerpoint/2010/main" val="3667128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Event Title 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7783"/>
            <a:ext cx="12192000"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1627" y="4518926"/>
            <a:ext cx="6260678" cy="1019980"/>
          </a:xfrm>
        </p:spPr>
        <p:txBody>
          <a:bodyPr anchor="t"/>
          <a:lstStyle>
            <a:lvl1pPr marL="0" indent="0">
              <a:buNone/>
              <a:defRPr sz="2353">
                <a:solidFill>
                  <a:schemeClr val="bg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27332" y="2084171"/>
            <a:ext cx="6275850" cy="2120726"/>
          </a:xfrm>
        </p:spPr>
        <p:txBody>
          <a:bodyPr anchor="b"/>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6" name="Picture 5">
            <a:extLst>
              <a:ext uri="{FF2B5EF4-FFF2-40B4-BE49-F238E27FC236}">
                <a16:creationId xmlns:a16="http://schemas.microsoft.com/office/drawing/2014/main" id="{00DFD317-5BA3-438A-B299-DBB19373E36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Tree>
    <p:extLst>
      <p:ext uri="{BB962C8B-B14F-4D97-AF65-F5344CB8AC3E}">
        <p14:creationId xmlns:p14="http://schemas.microsoft.com/office/powerpoint/2010/main" val="3986830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Confidentiality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20" name="Group 19">
            <a:extLst>
              <a:ext uri="{FF2B5EF4-FFF2-40B4-BE49-F238E27FC236}">
                <a16:creationId xmlns:a16="http://schemas.microsoft.com/office/drawing/2014/main" id="{78E81F66-18BE-4E57-938C-9EDF97006F22}"/>
              </a:ext>
            </a:extLst>
          </p:cNvPr>
          <p:cNvGrpSpPr/>
          <p:nvPr userDrawn="1"/>
        </p:nvGrpSpPr>
        <p:grpSpPr>
          <a:xfrm>
            <a:off x="1033391" y="2171649"/>
            <a:ext cx="1556303" cy="1354943"/>
            <a:chOff x="873078" y="2214881"/>
            <a:chExt cx="1587510" cy="1381916"/>
          </a:xfrm>
        </p:grpSpPr>
        <p:sp>
          <p:nvSpPr>
            <p:cNvPr id="6" name="camera"/>
            <p:cNvSpPr>
              <a:spLocks noChangeAspect="1" noEditPoints="1"/>
            </p:cNvSpPr>
            <p:nvPr userDrawn="1"/>
          </p:nvSpPr>
          <p:spPr bwMode="auto">
            <a:xfrm>
              <a:off x="873078" y="2214881"/>
              <a:ext cx="1248634" cy="997857"/>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dirty="0">
                <a:gradFill>
                  <a:gsLst>
                    <a:gs pos="0">
                      <a:srgbClr val="505050"/>
                    </a:gs>
                    <a:gs pos="100000">
                      <a:srgbClr val="505050"/>
                    </a:gs>
                  </a:gsLst>
                </a:gradFill>
              </a:endParaRPr>
            </a:p>
          </p:txBody>
        </p:sp>
        <p:sp>
          <p:nvSpPr>
            <p:cNvPr id="9" name="Multiplication Sign 8"/>
            <p:cNvSpPr/>
            <p:nvPr userDrawn="1"/>
          </p:nvSpPr>
          <p:spPr bwMode="auto">
            <a:xfrm>
              <a:off x="1782834" y="2919046"/>
              <a:ext cx="677754" cy="677751"/>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1" name="Group 20">
            <a:extLst>
              <a:ext uri="{FF2B5EF4-FFF2-40B4-BE49-F238E27FC236}">
                <a16:creationId xmlns:a16="http://schemas.microsoft.com/office/drawing/2014/main" id="{A42996B6-D0B4-45A1-9261-8AEA3C29AB4A}"/>
              </a:ext>
            </a:extLst>
          </p:cNvPr>
          <p:cNvGrpSpPr/>
          <p:nvPr userDrawn="1"/>
        </p:nvGrpSpPr>
        <p:grpSpPr>
          <a:xfrm>
            <a:off x="3683826" y="2118096"/>
            <a:ext cx="1005383" cy="1416285"/>
            <a:chOff x="3751290" y="2160262"/>
            <a:chExt cx="1025543" cy="1444480"/>
          </a:xfrm>
        </p:grpSpPr>
        <p:sp>
          <p:nvSpPr>
            <p:cNvPr id="4" name="phone"/>
            <p:cNvSpPr>
              <a:spLocks noChangeAspect="1" noEditPoints="1"/>
            </p:cNvSpPr>
            <p:nvPr userDrawn="1"/>
          </p:nvSpPr>
          <p:spPr bwMode="auto">
            <a:xfrm>
              <a:off x="3751290" y="2160262"/>
              <a:ext cx="701279" cy="1122985"/>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30" dirty="0">
                <a:gradFill>
                  <a:gsLst>
                    <a:gs pos="0">
                      <a:srgbClr val="505050"/>
                    </a:gs>
                    <a:gs pos="100000">
                      <a:srgbClr val="505050"/>
                    </a:gs>
                  </a:gsLst>
                </a:gradFill>
              </a:endParaRPr>
            </a:p>
          </p:txBody>
        </p:sp>
        <p:sp>
          <p:nvSpPr>
            <p:cNvPr id="10" name="Multiplication Sign 9"/>
            <p:cNvSpPr/>
            <p:nvPr userDrawn="1"/>
          </p:nvSpPr>
          <p:spPr bwMode="auto">
            <a:xfrm>
              <a:off x="4099079" y="2926991"/>
              <a:ext cx="677754" cy="677751"/>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3" name="Group 22">
            <a:extLst>
              <a:ext uri="{FF2B5EF4-FFF2-40B4-BE49-F238E27FC236}">
                <a16:creationId xmlns:a16="http://schemas.microsoft.com/office/drawing/2014/main" id="{967B9B47-9837-457E-871B-E5D78142EEE5}"/>
              </a:ext>
            </a:extLst>
          </p:cNvPr>
          <p:cNvGrpSpPr/>
          <p:nvPr userDrawn="1"/>
        </p:nvGrpSpPr>
        <p:grpSpPr>
          <a:xfrm>
            <a:off x="5783340" y="2078914"/>
            <a:ext cx="1948925" cy="1461168"/>
            <a:chOff x="6335962" y="2120300"/>
            <a:chExt cx="1988005" cy="1490256"/>
          </a:xfrm>
        </p:grpSpPr>
        <p:sp>
          <p:nvSpPr>
            <p:cNvPr id="5" name="tablet_2"/>
            <p:cNvSpPr>
              <a:spLocks noChangeAspect="1" noEditPoints="1"/>
            </p:cNvSpPr>
            <p:nvPr userDrawn="1"/>
          </p:nvSpPr>
          <p:spPr bwMode="auto">
            <a:xfrm>
              <a:off x="6335962" y="2120300"/>
              <a:ext cx="1658042" cy="1214531"/>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30" dirty="0">
                <a:gradFill>
                  <a:gsLst>
                    <a:gs pos="0">
                      <a:srgbClr val="505050"/>
                    </a:gs>
                    <a:gs pos="100000">
                      <a:srgbClr val="505050"/>
                    </a:gs>
                  </a:gsLst>
                </a:gradFill>
              </a:endParaRPr>
            </a:p>
          </p:txBody>
        </p:sp>
        <p:sp>
          <p:nvSpPr>
            <p:cNvPr id="11" name="Multiplication Sign 10"/>
            <p:cNvSpPr/>
            <p:nvPr userDrawn="1"/>
          </p:nvSpPr>
          <p:spPr bwMode="auto">
            <a:xfrm>
              <a:off x="7646213" y="2932805"/>
              <a:ext cx="677754" cy="677751"/>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2" name="Group 21">
            <a:extLst>
              <a:ext uri="{FF2B5EF4-FFF2-40B4-BE49-F238E27FC236}">
                <a16:creationId xmlns:a16="http://schemas.microsoft.com/office/drawing/2014/main" id="{2438E0D6-2E6D-4DE6-BEE3-12184AC40FA2}"/>
              </a:ext>
            </a:extLst>
          </p:cNvPr>
          <p:cNvGrpSpPr/>
          <p:nvPr userDrawn="1"/>
        </p:nvGrpSpPr>
        <p:grpSpPr>
          <a:xfrm>
            <a:off x="8826396" y="2047820"/>
            <a:ext cx="2332212" cy="1496785"/>
            <a:chOff x="9742220" y="2088587"/>
            <a:chExt cx="2378978" cy="1526582"/>
          </a:xfrm>
        </p:grpSpPr>
        <p:sp>
          <p:nvSpPr>
            <p:cNvPr id="3" name="laptop"/>
            <p:cNvSpPr>
              <a:spLocks noChangeAspect="1" noEditPoints="1"/>
            </p:cNvSpPr>
            <p:nvPr userDrawn="1"/>
          </p:nvSpPr>
          <p:spPr bwMode="auto">
            <a:xfrm>
              <a:off x="9742220" y="2088587"/>
              <a:ext cx="2101406" cy="1251030"/>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30" dirty="0">
                <a:gradFill>
                  <a:gsLst>
                    <a:gs pos="0">
                      <a:srgbClr val="505050"/>
                    </a:gs>
                    <a:gs pos="100000">
                      <a:srgbClr val="505050"/>
                    </a:gs>
                  </a:gsLst>
                </a:gradFill>
              </a:endParaRPr>
            </a:p>
          </p:txBody>
        </p:sp>
        <p:sp>
          <p:nvSpPr>
            <p:cNvPr id="13" name="Multiplication Sign 12"/>
            <p:cNvSpPr/>
            <p:nvPr userDrawn="1"/>
          </p:nvSpPr>
          <p:spPr bwMode="auto">
            <a:xfrm>
              <a:off x="11443445" y="2937417"/>
              <a:ext cx="677753" cy="677752"/>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130856" y="4253460"/>
            <a:ext cx="11930322" cy="1638607"/>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b="1" dirty="0">
                <a:gradFill>
                  <a:gsLst>
                    <a:gs pos="2917">
                      <a:schemeClr val="tx1"/>
                    </a:gs>
                    <a:gs pos="30000">
                      <a:schemeClr val="tx1"/>
                    </a:gs>
                  </a:gsLst>
                  <a:lin ang="5400000" scaled="0"/>
                </a:gradFill>
              </a:rPr>
              <a:t>Architect Boot Camp </a:t>
            </a:r>
            <a:r>
              <a:rPr lang="en-US" sz="2157" dirty="0">
                <a:gradFill>
                  <a:gsLst>
                    <a:gs pos="2917">
                      <a:schemeClr val="tx1"/>
                    </a:gs>
                    <a:gs pos="30000">
                      <a:schemeClr val="tx1"/>
                    </a:gs>
                  </a:gsLst>
                  <a:lin ang="5400000" scaled="0"/>
                </a:gradFill>
              </a:rPr>
              <a:t>content is Microsoft Confidential </a:t>
            </a:r>
          </a:p>
          <a:p>
            <a:pPr algn="ctr">
              <a:lnSpc>
                <a:spcPct val="90000"/>
              </a:lnSpc>
              <a:spcBef>
                <a:spcPts val="1176"/>
              </a:spcBef>
              <a:spcAft>
                <a:spcPts val="588"/>
              </a:spcAft>
            </a:pPr>
            <a:r>
              <a:rPr lang="en-US" sz="2157" dirty="0">
                <a:gradFill>
                  <a:gsLst>
                    <a:gs pos="2917">
                      <a:schemeClr val="tx1"/>
                    </a:gs>
                    <a:gs pos="30000">
                      <a:schemeClr val="tx1"/>
                    </a:gs>
                  </a:gsLst>
                  <a:lin ang="5400000" scaled="0"/>
                </a:gradFill>
              </a:rPr>
              <a:t>DO NOT post </a:t>
            </a:r>
            <a:r>
              <a:rPr lang="en-US" sz="2157" b="1" dirty="0">
                <a:gradFill>
                  <a:gsLst>
                    <a:gs pos="2917">
                      <a:schemeClr val="tx1"/>
                    </a:gs>
                    <a:gs pos="30000">
                      <a:schemeClr val="tx1"/>
                    </a:gs>
                  </a:gsLst>
                  <a:lin ang="5400000" scaled="0"/>
                </a:gradFill>
              </a:rPr>
              <a:t>Architect Boot Camp</a:t>
            </a:r>
            <a:r>
              <a:rPr lang="en-US" sz="2157" dirty="0">
                <a:gradFill>
                  <a:gsLst>
                    <a:gs pos="2917">
                      <a:schemeClr val="tx1"/>
                    </a:gs>
                    <a:gs pos="30000">
                      <a:schemeClr val="tx1"/>
                    </a:gs>
                  </a:gsLst>
                  <a:lin ang="5400000" scaled="0"/>
                </a:gradFill>
              </a:rPr>
              <a:t> content to any blogs or external websites</a:t>
            </a:r>
          </a:p>
          <a:p>
            <a:pPr algn="ctr">
              <a:lnSpc>
                <a:spcPct val="90000"/>
              </a:lnSpc>
              <a:spcBef>
                <a:spcPts val="1176"/>
              </a:spcBef>
              <a:spcAft>
                <a:spcPts val="588"/>
              </a:spcAft>
            </a:pPr>
            <a:r>
              <a:rPr lang="en-US" sz="2157" dirty="0">
                <a:gradFill>
                  <a:gsLst>
                    <a:gs pos="2917">
                      <a:schemeClr val="tx1"/>
                    </a:gs>
                    <a:gs pos="30000">
                      <a:schemeClr val="tx1"/>
                    </a:gs>
                  </a:gsLst>
                  <a:lin ang="5400000" scaled="0"/>
                </a:gradFill>
              </a:rPr>
              <a:t>DO NOT take photos or video of sessions or slides throughout the </a:t>
            </a:r>
            <a:r>
              <a:rPr lang="en-US" sz="2157" b="1" dirty="0">
                <a:gradFill>
                  <a:gsLst>
                    <a:gs pos="2917">
                      <a:schemeClr val="tx1"/>
                    </a:gs>
                    <a:gs pos="30000">
                      <a:schemeClr val="tx1"/>
                    </a:gs>
                  </a:gsLst>
                  <a:lin ang="5400000" scaled="0"/>
                </a:gradFill>
              </a:rPr>
              <a:t>Architect Boot Camp</a:t>
            </a:r>
            <a:r>
              <a:rPr lang="en-US" sz="2157" dirty="0">
                <a:gradFill>
                  <a:gsLst>
                    <a:gs pos="2917">
                      <a:schemeClr val="tx1"/>
                    </a:gs>
                    <a:gs pos="30000">
                      <a:schemeClr val="tx1"/>
                    </a:gs>
                  </a:gsLst>
                  <a:lin ang="5400000" scaled="0"/>
                </a:gradFill>
              </a:rPr>
              <a:t> event</a:t>
            </a:r>
          </a:p>
        </p:txBody>
      </p:sp>
    </p:spTree>
    <p:extLst>
      <p:ext uri="{BB962C8B-B14F-4D97-AF65-F5344CB8AC3E}">
        <p14:creationId xmlns:p14="http://schemas.microsoft.com/office/powerpoint/2010/main" val="17417822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264894" y="1189176"/>
            <a:ext cx="11653523" cy="2447348"/>
          </a:xfrm>
        </p:spPr>
        <p:txBody>
          <a:bodyPr/>
          <a:lstStyle>
            <a:lvl1pPr marL="0" indent="0">
              <a:lnSpc>
                <a:spcPct val="100000"/>
              </a:lnSpc>
              <a:buNone/>
              <a:defRPr>
                <a:solidFill>
                  <a:schemeClr val="tx1"/>
                </a:solidFill>
              </a:defRPr>
            </a:lvl1pPr>
            <a:lvl2pPr marL="0" indent="0">
              <a:lnSpc>
                <a:spcPct val="100000"/>
              </a:lnSpc>
              <a:buFontTx/>
              <a:buNone/>
              <a:defRPr sz="1568">
                <a:solidFill>
                  <a:schemeClr val="tx1"/>
                </a:solidFill>
              </a:defRPr>
            </a:lvl2pPr>
            <a:lvl3pPr marL="224054" indent="0">
              <a:lnSpc>
                <a:spcPct val="100000"/>
              </a:lnSpc>
              <a:buNone/>
              <a:defRPr sz="1568">
                <a:solidFill>
                  <a:schemeClr val="tx1"/>
                </a:solidFill>
              </a:defRPr>
            </a:lvl3pPr>
            <a:lvl4pPr marL="448107" indent="0">
              <a:lnSpc>
                <a:spcPct val="100000"/>
              </a:lnSpc>
              <a:buNone/>
              <a:defRPr sz="1568">
                <a:solidFill>
                  <a:schemeClr val="tx1"/>
                </a:solidFill>
              </a:defRPr>
            </a:lvl4pPr>
            <a:lvl5pPr marL="672161" indent="0">
              <a:lnSpc>
                <a:spcPct val="100000"/>
              </a:lnSpc>
              <a:buNone/>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1806988449"/>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5983" y="1189175"/>
            <a:ext cx="5378548" cy="2160667"/>
          </a:xfrm>
        </p:spPr>
        <p:txBody>
          <a:bodyPr wrap="square">
            <a:spAutoFit/>
          </a:bodyPr>
          <a:lstStyle>
            <a:lvl1pPr marL="0" indent="0">
              <a:spcBef>
                <a:spcPts val="1200"/>
              </a:spcBef>
              <a:buClr>
                <a:schemeClr val="tx1"/>
              </a:buClr>
              <a:buFont typeface="Wingdings" pitchFamily="2" charset="2"/>
              <a:buNone/>
              <a:defRPr sz="2745">
                <a:solidFill>
                  <a:schemeClr val="accent2"/>
                </a:solidFill>
              </a:defRPr>
            </a:lvl1pPr>
            <a:lvl2pPr marL="0" indent="0">
              <a:buNone/>
              <a:defRPr sz="1568">
                <a:solidFill>
                  <a:schemeClr val="tx1"/>
                </a:solidFill>
              </a:defRPr>
            </a:lvl2pPr>
            <a:lvl3pPr marL="227165" indent="0">
              <a:buNone/>
              <a:tabLst/>
              <a:defRPr sz="1568">
                <a:solidFill>
                  <a:schemeClr val="tx1"/>
                </a:solidFill>
              </a:defRPr>
            </a:lvl3pPr>
            <a:lvl4pPr marL="451219" indent="0">
              <a:buNone/>
              <a:defRPr sz="1568">
                <a:solidFill>
                  <a:schemeClr val="tx1"/>
                </a:solidFill>
              </a:defRPr>
            </a:lvl4pPr>
            <a:lvl5pPr marL="672161" indent="0">
              <a:buNone/>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2160667"/>
          </a:xfrm>
        </p:spPr>
        <p:txBody>
          <a:bodyPr wrap="square">
            <a:spAutoFit/>
          </a:bodyPr>
          <a:lstStyle>
            <a:lvl1pPr marL="0" indent="0">
              <a:spcBef>
                <a:spcPts val="1200"/>
              </a:spcBef>
              <a:buClr>
                <a:schemeClr val="tx1"/>
              </a:buClr>
              <a:buFont typeface="Wingdings" pitchFamily="2" charset="2"/>
              <a:buNone/>
              <a:defRPr sz="2745">
                <a:solidFill>
                  <a:schemeClr val="accent2"/>
                </a:solidFill>
              </a:defRPr>
            </a:lvl1pPr>
            <a:lvl2pPr marL="0" indent="0">
              <a:buNone/>
              <a:defRPr sz="1568">
                <a:solidFill>
                  <a:schemeClr val="tx1"/>
                </a:solidFill>
              </a:defRPr>
            </a:lvl2pPr>
            <a:lvl3pPr marL="227165" indent="0">
              <a:buNone/>
              <a:tabLst/>
              <a:defRPr sz="1568">
                <a:solidFill>
                  <a:schemeClr val="tx1"/>
                </a:solidFill>
              </a:defRPr>
            </a:lvl3pPr>
            <a:lvl4pPr marL="451219" indent="0">
              <a:buNone/>
              <a:defRPr sz="1568">
                <a:solidFill>
                  <a:schemeClr val="tx1"/>
                </a:solidFill>
              </a:defRPr>
            </a:lvl4pPr>
            <a:lvl5pPr marL="672161" indent="0">
              <a:buNone/>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3807710563"/>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9242" y="1216074"/>
            <a:ext cx="5378548" cy="2103331"/>
          </a:xfrm>
        </p:spPr>
        <p:txBody>
          <a:bodyPr wrap="square">
            <a:spAutoFit/>
          </a:bodyPr>
          <a:lstStyle>
            <a:lvl1pPr marL="281623" indent="-281623">
              <a:spcBef>
                <a:spcPts val="1200"/>
              </a:spcBef>
              <a:buClr>
                <a:schemeClr val="tx2"/>
              </a:buClr>
              <a:buFont typeface="Arial" pitchFamily="34" charset="0"/>
              <a:buChar char="•"/>
              <a:defRPr sz="2745">
                <a:solidFill>
                  <a:schemeClr val="tx1"/>
                </a:solidFill>
              </a:defRPr>
            </a:lvl1pPr>
            <a:lvl2pPr marL="520602" indent="-228557">
              <a:defRPr sz="1568">
                <a:solidFill>
                  <a:schemeClr val="tx1"/>
                </a:solidFill>
              </a:defRPr>
            </a:lvl2pPr>
            <a:lvl3pPr marL="685671" indent="-165070">
              <a:tabLst/>
              <a:defRPr sz="1568">
                <a:solidFill>
                  <a:schemeClr val="tx1"/>
                </a:solidFill>
              </a:defRPr>
            </a:lvl3pPr>
            <a:lvl4pPr marL="863437" indent="-177767">
              <a:defRPr sz="1568">
                <a:solidFill>
                  <a:schemeClr val="tx1"/>
                </a:solidFill>
              </a:defRPr>
            </a:lvl4pPr>
            <a:lvl5pPr marL="1028506" indent="-165070">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216074"/>
            <a:ext cx="5378548" cy="2103331"/>
          </a:xfrm>
        </p:spPr>
        <p:txBody>
          <a:bodyPr wrap="square">
            <a:spAutoFit/>
          </a:bodyPr>
          <a:lstStyle>
            <a:lvl1pPr marL="281623" indent="-281623">
              <a:spcBef>
                <a:spcPts val="1200"/>
              </a:spcBef>
              <a:buClr>
                <a:schemeClr val="tx2"/>
              </a:buClr>
              <a:buFont typeface="Arial" pitchFamily="34" charset="0"/>
              <a:buChar char="•"/>
              <a:defRPr sz="2745">
                <a:solidFill>
                  <a:schemeClr val="tx1"/>
                </a:solidFill>
              </a:defRPr>
            </a:lvl1pPr>
            <a:lvl2pPr marL="520602" indent="-228557">
              <a:defRPr sz="1568">
                <a:solidFill>
                  <a:schemeClr val="tx1"/>
                </a:solidFill>
              </a:defRPr>
            </a:lvl2pPr>
            <a:lvl3pPr marL="685671" indent="-165070">
              <a:tabLst/>
              <a:defRPr sz="1568">
                <a:solidFill>
                  <a:schemeClr val="tx1"/>
                </a:solidFill>
              </a:defRPr>
            </a:lvl3pPr>
            <a:lvl4pPr marL="863437" indent="-177767">
              <a:defRPr sz="1568">
                <a:solidFill>
                  <a:schemeClr val="tx1"/>
                </a:solidFill>
              </a:defRPr>
            </a:lvl4pPr>
            <a:lvl5pPr marL="1028506" indent="-165070">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637655565"/>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26019284"/>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Full Bleed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21569"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8785274" cy="6858000"/>
          </a:xfrm>
          <a:prstGeom prst="rect">
            <a:avLst/>
          </a:prstGeom>
          <a:gradFill flip="none" rotWithShape="1">
            <a:gsLst>
              <a:gs pos="44000">
                <a:srgbClr val="000000">
                  <a:alpha val="48000"/>
                </a:srgbClr>
              </a:gs>
              <a:gs pos="0">
                <a:srgbClr val="000000">
                  <a:alpha val="7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194536" y="4518926"/>
            <a:ext cx="6083662" cy="1019980"/>
          </a:xfrm>
        </p:spPr>
        <p:txBody>
          <a:bodyPr anchor="t"/>
          <a:lstStyle>
            <a:lvl1pPr marL="60693" indent="0">
              <a:buNone/>
              <a:defRPr sz="2353">
                <a:solidFill>
                  <a:schemeClr val="bg1"/>
                </a:solidFill>
              </a:defRPr>
            </a:lvl1pPr>
            <a:lvl5pPr>
              <a:defRPr/>
            </a:lvl5pPr>
          </a:lstStyle>
          <a:p>
            <a:pPr lvl="0"/>
            <a:r>
              <a:rPr lang="en-US" dirty="0"/>
              <a:t>Content here</a:t>
            </a:r>
          </a:p>
        </p:txBody>
      </p:sp>
      <p:sp>
        <p:nvSpPr>
          <p:cNvPr id="23" name="Text Placeholder 6"/>
          <p:cNvSpPr>
            <a:spLocks noGrp="1"/>
          </p:cNvSpPr>
          <p:nvPr>
            <p:ph type="body" sz="quarter" idx="13" hasCustomPrompt="1"/>
          </p:nvPr>
        </p:nvSpPr>
        <p:spPr>
          <a:xfrm>
            <a:off x="194536" y="2084171"/>
            <a:ext cx="6125570" cy="2120726"/>
          </a:xfrm>
        </p:spPr>
        <p:txBody>
          <a:bodyPr anchor="ctr"/>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Headline here</a:t>
            </a:r>
          </a:p>
        </p:txBody>
      </p:sp>
    </p:spTree>
    <p:extLst>
      <p:ext uri="{BB962C8B-B14F-4D97-AF65-F5344CB8AC3E}">
        <p14:creationId xmlns:p14="http://schemas.microsoft.com/office/powerpoint/2010/main" val="1435607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Full Bleed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7783"/>
            <a:ext cx="12196948"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ext Placeholder 6">
            <a:extLst>
              <a:ext uri="{FF2B5EF4-FFF2-40B4-BE49-F238E27FC236}">
                <a16:creationId xmlns:a16="http://schemas.microsoft.com/office/drawing/2014/main" id="{C5FD5429-AFE3-42EE-80AB-911CB5BA20B6}"/>
              </a:ext>
            </a:extLst>
          </p:cNvPr>
          <p:cNvSpPr>
            <a:spLocks noGrp="1"/>
          </p:cNvSpPr>
          <p:nvPr>
            <p:ph type="body" sz="quarter" idx="12" hasCustomPrompt="1"/>
          </p:nvPr>
        </p:nvSpPr>
        <p:spPr>
          <a:xfrm>
            <a:off x="194536" y="4518926"/>
            <a:ext cx="6083662" cy="1019980"/>
          </a:xfrm>
        </p:spPr>
        <p:txBody>
          <a:bodyPr anchor="t"/>
          <a:lstStyle>
            <a:lvl1pPr marL="60693" indent="0">
              <a:buNone/>
              <a:defRPr sz="2353">
                <a:solidFill>
                  <a:schemeClr val="bg1"/>
                </a:solidFill>
              </a:defRPr>
            </a:lvl1pPr>
            <a:lvl5pPr>
              <a:defRPr/>
            </a:lvl5pPr>
          </a:lstStyle>
          <a:p>
            <a:pPr lvl="0"/>
            <a:r>
              <a:rPr lang="en-US" dirty="0"/>
              <a:t>Content here</a:t>
            </a:r>
          </a:p>
        </p:txBody>
      </p:sp>
      <p:sp>
        <p:nvSpPr>
          <p:cNvPr id="10" name="Text Placeholder 6">
            <a:extLst>
              <a:ext uri="{FF2B5EF4-FFF2-40B4-BE49-F238E27FC236}">
                <a16:creationId xmlns:a16="http://schemas.microsoft.com/office/drawing/2014/main" id="{0E6FAF24-2B33-4048-AADD-D85DF6020205}"/>
              </a:ext>
            </a:extLst>
          </p:cNvPr>
          <p:cNvSpPr>
            <a:spLocks noGrp="1"/>
          </p:cNvSpPr>
          <p:nvPr>
            <p:ph type="body" sz="quarter" idx="13" hasCustomPrompt="1"/>
          </p:nvPr>
        </p:nvSpPr>
        <p:spPr>
          <a:xfrm>
            <a:off x="194536" y="2084171"/>
            <a:ext cx="6125570" cy="2120726"/>
          </a:xfrm>
        </p:spPr>
        <p:txBody>
          <a:bodyPr anchor="ctr"/>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Headline here</a:t>
            </a:r>
          </a:p>
        </p:txBody>
      </p:sp>
    </p:spTree>
    <p:extLst>
      <p:ext uri="{BB962C8B-B14F-4D97-AF65-F5344CB8AC3E}">
        <p14:creationId xmlns:p14="http://schemas.microsoft.com/office/powerpoint/2010/main" val="1217504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Full Bleed 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7783"/>
            <a:ext cx="12192000"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6">
            <a:extLst>
              <a:ext uri="{FF2B5EF4-FFF2-40B4-BE49-F238E27FC236}">
                <a16:creationId xmlns:a16="http://schemas.microsoft.com/office/drawing/2014/main" id="{818138FC-F786-41F2-AF92-1F1BBF65D7B9}"/>
              </a:ext>
            </a:extLst>
          </p:cNvPr>
          <p:cNvSpPr>
            <a:spLocks noGrp="1"/>
          </p:cNvSpPr>
          <p:nvPr>
            <p:ph type="body" sz="quarter" idx="12" hasCustomPrompt="1"/>
          </p:nvPr>
        </p:nvSpPr>
        <p:spPr>
          <a:xfrm>
            <a:off x="194536" y="4518926"/>
            <a:ext cx="6083662" cy="1019980"/>
          </a:xfrm>
        </p:spPr>
        <p:txBody>
          <a:bodyPr anchor="t"/>
          <a:lstStyle>
            <a:lvl1pPr marL="60693" indent="0">
              <a:buNone/>
              <a:defRPr sz="2353">
                <a:solidFill>
                  <a:schemeClr val="bg1"/>
                </a:solidFill>
              </a:defRPr>
            </a:lvl1pPr>
            <a:lvl5pPr>
              <a:defRPr/>
            </a:lvl5pPr>
          </a:lstStyle>
          <a:p>
            <a:pPr lvl="0"/>
            <a:r>
              <a:rPr lang="en-US" dirty="0"/>
              <a:t>Content here</a:t>
            </a:r>
          </a:p>
        </p:txBody>
      </p:sp>
      <p:sp>
        <p:nvSpPr>
          <p:cNvPr id="9" name="Text Placeholder 6">
            <a:extLst>
              <a:ext uri="{FF2B5EF4-FFF2-40B4-BE49-F238E27FC236}">
                <a16:creationId xmlns:a16="http://schemas.microsoft.com/office/drawing/2014/main" id="{44159AAF-5BE0-41B4-BD31-DBE01540D056}"/>
              </a:ext>
            </a:extLst>
          </p:cNvPr>
          <p:cNvSpPr>
            <a:spLocks noGrp="1"/>
          </p:cNvSpPr>
          <p:nvPr>
            <p:ph type="body" sz="quarter" idx="13" hasCustomPrompt="1"/>
          </p:nvPr>
        </p:nvSpPr>
        <p:spPr>
          <a:xfrm>
            <a:off x="194536" y="2084171"/>
            <a:ext cx="6125570" cy="2120726"/>
          </a:xfrm>
        </p:spPr>
        <p:txBody>
          <a:bodyPr anchor="ctr"/>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Headline here</a:t>
            </a:r>
          </a:p>
        </p:txBody>
      </p:sp>
    </p:spTree>
    <p:extLst>
      <p:ext uri="{BB962C8B-B14F-4D97-AF65-F5344CB8AC3E}">
        <p14:creationId xmlns:p14="http://schemas.microsoft.com/office/powerpoint/2010/main" val="2047609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Walk-in 2">
    <p:bg>
      <p:bgRef idx="1001">
        <a:schemeClr val="bg1"/>
      </p:bgRef>
    </p:bg>
    <p:spTree>
      <p:nvGrpSpPr>
        <p:cNvPr id="1" name=""/>
        <p:cNvGrpSpPr/>
        <p:nvPr/>
      </p:nvGrpSpPr>
      <p:grpSpPr>
        <a:xfrm>
          <a:off x="0" y="0"/>
          <a:ext cx="0" cy="0"/>
          <a:chOff x="0" y="0"/>
          <a:chExt cx="0" cy="0"/>
        </a:xfrm>
      </p:grpSpPr>
      <p:pic>
        <p:nvPicPr>
          <p:cNvPr id="3" name="Picture 2" descr="A group of people sitting in front of a crowd&#10;&#10;Description generated with very high confidence">
            <a:extLst>
              <a:ext uri="{FF2B5EF4-FFF2-40B4-BE49-F238E27FC236}">
                <a16:creationId xmlns:a16="http://schemas.microsoft.com/office/drawing/2014/main" id="{ADC57F9E-658E-424C-9EF1-3587089C95FB}"/>
              </a:ext>
            </a:extLst>
          </p:cNvPr>
          <p:cNvPicPr>
            <a:picLocks noChangeAspect="1"/>
          </p:cNvPicPr>
          <p:nvPr userDrawn="1"/>
        </p:nvPicPr>
        <p:blipFill rotWithShape="1">
          <a:blip r:embed="rId2"/>
          <a:srcRect l="14583" t="10804" r="39161" b="19692"/>
          <a:stretch/>
        </p:blipFill>
        <p:spPr>
          <a:xfrm>
            <a:off x="5333998" y="0"/>
            <a:ext cx="6858001" cy="6858000"/>
          </a:xfrm>
          <a:prstGeom prst="rect">
            <a:avLst/>
          </a:prstGeom>
        </p:spPr>
      </p:pic>
      <p:pic>
        <p:nvPicPr>
          <p:cNvPr id="10" name="MS logo gray - EMF" descr="Microsoft logo, gray text version">
            <a:extLst>
              <a:ext uri="{FF2B5EF4-FFF2-40B4-BE49-F238E27FC236}">
                <a16:creationId xmlns:a16="http://schemas.microsoft.com/office/drawing/2014/main" id="{B802B7FF-9FAE-427A-B679-4364FE2DB5F7}"/>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
        <p:nvSpPr>
          <p:cNvPr id="12" name="TextBox 11">
            <a:extLst>
              <a:ext uri="{FF2B5EF4-FFF2-40B4-BE49-F238E27FC236}">
                <a16:creationId xmlns:a16="http://schemas.microsoft.com/office/drawing/2014/main" id="{4731E8BB-BB76-41F9-856D-368DE9900663}"/>
              </a:ext>
            </a:extLst>
          </p:cNvPr>
          <p:cNvSpPr txBox="1"/>
          <p:nvPr userDrawn="1"/>
        </p:nvSpPr>
        <p:spPr>
          <a:xfrm>
            <a:off x="586581" y="4219064"/>
            <a:ext cx="1851469" cy="615553"/>
          </a:xfrm>
          <a:prstGeom prst="rect">
            <a:avLst/>
          </a:prstGeom>
          <a:noFill/>
        </p:spPr>
        <p:txBody>
          <a:bodyPr wrap="none" lIns="0" tIns="0" rIns="0" bIns="0" rtlCol="0">
            <a:spAutoFit/>
          </a:bodyPr>
          <a:lstStyle/>
          <a:p>
            <a:pPr algn="l"/>
            <a:r>
              <a:rPr lang="en-US" sz="2000" dirty="0">
                <a:gradFill>
                  <a:gsLst>
                    <a:gs pos="82234">
                      <a:schemeClr val="accent2"/>
                    </a:gs>
                    <a:gs pos="68282">
                      <a:schemeClr val="accent2"/>
                    </a:gs>
                  </a:gsLst>
                  <a:lin ang="5400000" scaled="0"/>
                </a:gradFill>
              </a:rPr>
              <a:t>July 18–20, 2018</a:t>
            </a:r>
          </a:p>
          <a:p>
            <a:pPr algn="l"/>
            <a:r>
              <a:rPr lang="en-US" sz="2000" dirty="0">
                <a:gradFill>
                  <a:gsLst>
                    <a:gs pos="82234">
                      <a:schemeClr val="accent2"/>
                    </a:gs>
                    <a:gs pos="68282">
                      <a:schemeClr val="accent2"/>
                    </a:gs>
                  </a:gsLst>
                  <a:lin ang="5400000" scaled="0"/>
                </a:gradFill>
              </a:rPr>
              <a:t>Las Vegas, NV</a:t>
            </a:r>
          </a:p>
        </p:txBody>
      </p:sp>
      <p:pic>
        <p:nvPicPr>
          <p:cNvPr id="13" name="Picture 12" descr="A close up of a sign&#10;&#10;Description generated with very high confidence">
            <a:extLst>
              <a:ext uri="{FF2B5EF4-FFF2-40B4-BE49-F238E27FC236}">
                <a16:creationId xmlns:a16="http://schemas.microsoft.com/office/drawing/2014/main" id="{29E6D70F-8056-4653-91E4-BE7FAAFEBA52}"/>
              </a:ext>
            </a:extLst>
          </p:cNvPr>
          <p:cNvPicPr>
            <a:picLocks noChangeAspect="1"/>
          </p:cNvPicPr>
          <p:nvPr userDrawn="1"/>
        </p:nvPicPr>
        <p:blipFill>
          <a:blip r:embed="rId4"/>
          <a:stretch>
            <a:fillRect/>
          </a:stretch>
        </p:blipFill>
        <p:spPr>
          <a:xfrm>
            <a:off x="584200" y="2322537"/>
            <a:ext cx="3012188" cy="1524596"/>
          </a:xfrm>
          <a:prstGeom prst="rect">
            <a:avLst/>
          </a:prstGeom>
        </p:spPr>
      </p:pic>
    </p:spTree>
    <p:extLst>
      <p:ext uri="{BB962C8B-B14F-4D97-AF65-F5344CB8AC3E}">
        <p14:creationId xmlns:p14="http://schemas.microsoft.com/office/powerpoint/2010/main" val="27129300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userDrawn="1">
          <p15:clr>
            <a:srgbClr val="5ACBF0"/>
          </p15:clr>
        </p15:guide>
        <p15:guide id="2" orient="horz" pos="1272" userDrawn="1">
          <p15:clr>
            <a:srgbClr val="5ACBF0"/>
          </p15:clr>
        </p15:guide>
        <p15:guide id="3" orient="horz" pos="288" userDrawn="1">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Full Bleed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992C132-756C-4E79-BD44-1D1BA7BC1C2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14786" cy="6858000"/>
          </a:xfrm>
          <a:prstGeom prst="rect">
            <a:avLst/>
          </a:prstGeom>
        </p:spPr>
      </p:pic>
      <p:sp>
        <p:nvSpPr>
          <p:cNvPr id="8" name="Rectangle 7">
            <a:extLst>
              <a:ext uri="{FF2B5EF4-FFF2-40B4-BE49-F238E27FC236}">
                <a16:creationId xmlns:a16="http://schemas.microsoft.com/office/drawing/2014/main" id="{3691C11D-3964-4BB0-B796-FEA507550629}"/>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6">
            <a:extLst>
              <a:ext uri="{FF2B5EF4-FFF2-40B4-BE49-F238E27FC236}">
                <a16:creationId xmlns:a16="http://schemas.microsoft.com/office/drawing/2014/main" id="{4E84CED7-FFF2-4640-95CD-A94432410C2F}"/>
              </a:ext>
            </a:extLst>
          </p:cNvPr>
          <p:cNvSpPr>
            <a:spLocks noGrp="1"/>
          </p:cNvSpPr>
          <p:nvPr>
            <p:ph type="body" sz="quarter" idx="12" hasCustomPrompt="1"/>
          </p:nvPr>
        </p:nvSpPr>
        <p:spPr>
          <a:xfrm>
            <a:off x="194536" y="4518926"/>
            <a:ext cx="6083662" cy="1019980"/>
          </a:xfrm>
        </p:spPr>
        <p:txBody>
          <a:bodyPr anchor="t"/>
          <a:lstStyle>
            <a:lvl1pPr marL="60693" indent="0">
              <a:buNone/>
              <a:defRPr sz="2353">
                <a:solidFill>
                  <a:schemeClr val="bg1"/>
                </a:solidFill>
              </a:defRPr>
            </a:lvl1pPr>
            <a:lvl5pPr>
              <a:defRPr/>
            </a:lvl5pPr>
          </a:lstStyle>
          <a:p>
            <a:pPr lvl="0"/>
            <a:r>
              <a:rPr lang="en-US" dirty="0"/>
              <a:t>Content here</a:t>
            </a:r>
          </a:p>
        </p:txBody>
      </p:sp>
      <p:sp>
        <p:nvSpPr>
          <p:cNvPr id="11" name="Text Placeholder 6">
            <a:extLst>
              <a:ext uri="{FF2B5EF4-FFF2-40B4-BE49-F238E27FC236}">
                <a16:creationId xmlns:a16="http://schemas.microsoft.com/office/drawing/2014/main" id="{86F470D8-2510-4452-8A45-2053C2A8AC33}"/>
              </a:ext>
            </a:extLst>
          </p:cNvPr>
          <p:cNvSpPr>
            <a:spLocks noGrp="1"/>
          </p:cNvSpPr>
          <p:nvPr>
            <p:ph type="body" sz="quarter" idx="13" hasCustomPrompt="1"/>
          </p:nvPr>
        </p:nvSpPr>
        <p:spPr>
          <a:xfrm>
            <a:off x="194536" y="2084171"/>
            <a:ext cx="6125570" cy="2120726"/>
          </a:xfrm>
        </p:spPr>
        <p:txBody>
          <a:bodyPr anchor="ctr"/>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Headline here</a:t>
            </a:r>
          </a:p>
        </p:txBody>
      </p:sp>
    </p:spTree>
    <p:extLst>
      <p:ext uri="{BB962C8B-B14F-4D97-AF65-F5344CB8AC3E}">
        <p14:creationId xmlns:p14="http://schemas.microsoft.com/office/powerpoint/2010/main" val="939121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Full Bleed 5">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665A84C-887B-4C8F-AA82-475CC75CA61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63A98012-256F-42B6-9F41-6BAB05307CDF}"/>
              </a:ext>
            </a:extLst>
          </p:cNvPr>
          <p:cNvSpPr/>
          <p:nvPr userDrawn="1"/>
        </p:nvSpPr>
        <p:spPr bwMode="auto">
          <a:xfrm>
            <a:off x="0" y="0"/>
            <a:ext cx="9756401" cy="6858000"/>
          </a:xfrm>
          <a:prstGeom prst="rect">
            <a:avLst/>
          </a:prstGeom>
          <a:gradFill flip="none" rotWithShape="1">
            <a:gsLst>
              <a:gs pos="57000">
                <a:srgbClr val="000000">
                  <a:alpha val="41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 Placeholder 6">
            <a:extLst>
              <a:ext uri="{FF2B5EF4-FFF2-40B4-BE49-F238E27FC236}">
                <a16:creationId xmlns:a16="http://schemas.microsoft.com/office/drawing/2014/main" id="{2D60B39A-62BF-4CE5-AAEF-5921C4E41417}"/>
              </a:ext>
            </a:extLst>
          </p:cNvPr>
          <p:cNvSpPr>
            <a:spLocks noGrp="1"/>
          </p:cNvSpPr>
          <p:nvPr>
            <p:ph type="body" sz="quarter" idx="12" hasCustomPrompt="1"/>
          </p:nvPr>
        </p:nvSpPr>
        <p:spPr>
          <a:xfrm>
            <a:off x="194536" y="4518926"/>
            <a:ext cx="6083662" cy="1019980"/>
          </a:xfrm>
        </p:spPr>
        <p:txBody>
          <a:bodyPr anchor="t"/>
          <a:lstStyle>
            <a:lvl1pPr marL="60693" indent="0">
              <a:buNone/>
              <a:defRPr sz="2353">
                <a:solidFill>
                  <a:schemeClr val="bg1"/>
                </a:solidFill>
              </a:defRPr>
            </a:lvl1pPr>
            <a:lvl5pPr>
              <a:defRPr/>
            </a:lvl5pPr>
          </a:lstStyle>
          <a:p>
            <a:pPr lvl="0"/>
            <a:r>
              <a:rPr lang="en-US" dirty="0"/>
              <a:t>Content here</a:t>
            </a:r>
          </a:p>
        </p:txBody>
      </p:sp>
      <p:sp>
        <p:nvSpPr>
          <p:cNvPr id="12" name="Text Placeholder 6">
            <a:extLst>
              <a:ext uri="{FF2B5EF4-FFF2-40B4-BE49-F238E27FC236}">
                <a16:creationId xmlns:a16="http://schemas.microsoft.com/office/drawing/2014/main" id="{CCB1F7A5-C471-4911-9CD8-D861B9CFFE58}"/>
              </a:ext>
            </a:extLst>
          </p:cNvPr>
          <p:cNvSpPr>
            <a:spLocks noGrp="1"/>
          </p:cNvSpPr>
          <p:nvPr>
            <p:ph type="body" sz="quarter" idx="13" hasCustomPrompt="1"/>
          </p:nvPr>
        </p:nvSpPr>
        <p:spPr>
          <a:xfrm>
            <a:off x="194536" y="2084171"/>
            <a:ext cx="6125570" cy="2120726"/>
          </a:xfrm>
        </p:spPr>
        <p:txBody>
          <a:bodyPr anchor="ctr"/>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Headline here</a:t>
            </a:r>
          </a:p>
        </p:txBody>
      </p:sp>
    </p:spTree>
    <p:extLst>
      <p:ext uri="{BB962C8B-B14F-4D97-AF65-F5344CB8AC3E}">
        <p14:creationId xmlns:p14="http://schemas.microsoft.com/office/powerpoint/2010/main" val="781611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4002128"/>
            <a:ext cx="7171398" cy="995838"/>
          </a:xfrm>
          <a:noFill/>
        </p:spPr>
        <p:txBody>
          <a:bodyPr wrap="square" tIns="91440" bIns="91440" anchor="b" anchorCtr="0">
            <a:spAutoFit/>
          </a:bodyPr>
          <a:lstStyle>
            <a:lvl1pPr>
              <a:defRPr sz="5882" spc="-98" baseline="0">
                <a:solidFill>
                  <a:schemeClr val="tx1"/>
                </a:solidFill>
              </a:defRPr>
            </a:lvl1pPr>
          </a:lstStyle>
          <a:p>
            <a:r>
              <a:rPr lang="en-US" dirty="0"/>
              <a:t>Section title</a:t>
            </a:r>
          </a:p>
        </p:txBody>
      </p:sp>
    </p:spTree>
    <p:extLst>
      <p:ext uri="{BB962C8B-B14F-4D97-AF65-F5344CB8AC3E}">
        <p14:creationId xmlns:p14="http://schemas.microsoft.com/office/powerpoint/2010/main" val="39294690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userDrawn="1">
            <p:ph type="title" hasCustomPrompt="1"/>
          </p:nvPr>
        </p:nvSpPr>
        <p:spPr>
          <a:xfrm>
            <a:off x="269239" y="4002128"/>
            <a:ext cx="7171399" cy="995838"/>
          </a:xfrm>
          <a:noFill/>
        </p:spPr>
        <p:txBody>
          <a:bodyPr wrap="square" tIns="91440" bIns="91440" anchor="b" anchorCtr="0">
            <a:spAutoFit/>
          </a:bodyPr>
          <a:lstStyle>
            <a:lvl1pPr>
              <a:defRPr sz="5882" spc="-98" baseline="0">
                <a:solidFill>
                  <a:schemeClr val="tx1"/>
                </a:solidFill>
              </a:defRPr>
            </a:lvl1pPr>
          </a:lstStyle>
          <a:p>
            <a:r>
              <a:rPr lang="en-US" dirty="0"/>
              <a:t>Section title</a:t>
            </a:r>
          </a:p>
        </p:txBody>
      </p:sp>
    </p:spTree>
    <p:extLst>
      <p:ext uri="{BB962C8B-B14F-4D97-AF65-F5344CB8AC3E}">
        <p14:creationId xmlns:p14="http://schemas.microsoft.com/office/powerpoint/2010/main" val="12777481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userDrawn="1">
            <p:ph type="title" hasCustomPrompt="1"/>
          </p:nvPr>
        </p:nvSpPr>
        <p:spPr>
          <a:xfrm>
            <a:off x="269239" y="4002128"/>
            <a:ext cx="7171399" cy="995838"/>
          </a:xfrm>
          <a:noFill/>
        </p:spPr>
        <p:txBody>
          <a:bodyPr wrap="square" tIns="91440" bIns="91440" anchor="b" anchorCtr="0">
            <a:spAutoFit/>
          </a:bodyPr>
          <a:lstStyle>
            <a:lvl1pPr>
              <a:defRPr sz="5882" spc="-98" baseline="0">
                <a:solidFill>
                  <a:schemeClr val="tx1"/>
                </a:solidFill>
              </a:defRPr>
            </a:lvl1pPr>
          </a:lstStyle>
          <a:p>
            <a:r>
              <a:rPr lang="en-US" dirty="0"/>
              <a:t>Section title</a:t>
            </a:r>
          </a:p>
        </p:txBody>
      </p:sp>
    </p:spTree>
    <p:extLst>
      <p:ext uri="{BB962C8B-B14F-4D97-AF65-F5344CB8AC3E}">
        <p14:creationId xmlns:p14="http://schemas.microsoft.com/office/powerpoint/2010/main" val="28052637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66F71CB-3F00-464C-88C9-6BB0DB1E354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6" name="Rectangle 5">
            <a:extLst>
              <a:ext uri="{FF2B5EF4-FFF2-40B4-BE49-F238E27FC236}">
                <a16:creationId xmlns:a16="http://schemas.microsoft.com/office/drawing/2014/main" id="{D3B56245-1A36-453D-A080-8FFC608C5FB4}"/>
              </a:ext>
            </a:extLst>
          </p:cNvPr>
          <p:cNvSpPr/>
          <p:nvPr userDrawn="1"/>
        </p:nvSpPr>
        <p:spPr bwMode="auto">
          <a:xfrm>
            <a:off x="0" y="0"/>
            <a:ext cx="9606997" cy="6858000"/>
          </a:xfrm>
          <a:prstGeom prst="rect">
            <a:avLst/>
          </a:prstGeom>
          <a:gradFill>
            <a:gsLst>
              <a:gs pos="51000">
                <a:srgbClr val="FFFFFF">
                  <a:alpha val="60000"/>
                </a:srgbClr>
              </a:gs>
              <a:gs pos="0">
                <a:schemeClr val="tx1">
                  <a:alpha val="89000"/>
                </a:schemeClr>
              </a:gs>
              <a:gs pos="100000">
                <a:schemeClr val="tx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userDrawn="1">
            <p:ph type="title" hasCustomPrompt="1"/>
          </p:nvPr>
        </p:nvSpPr>
        <p:spPr>
          <a:xfrm>
            <a:off x="269239" y="4002128"/>
            <a:ext cx="7171399" cy="995838"/>
          </a:xfrm>
          <a:noFill/>
        </p:spPr>
        <p:txBody>
          <a:bodyPr wrap="square" tIns="91440" bIns="91440" anchor="b" anchorCtr="0">
            <a:spAutoFit/>
          </a:bodyPr>
          <a:lstStyle>
            <a:lvl1pPr>
              <a:defRPr sz="5882" spc="-98" baseline="0">
                <a:solidFill>
                  <a:schemeClr val="accent2"/>
                </a:solidFill>
              </a:defRPr>
            </a:lvl1pPr>
          </a:lstStyle>
          <a:p>
            <a:r>
              <a:rPr lang="en-US" dirty="0"/>
              <a:t>Section title</a:t>
            </a:r>
          </a:p>
        </p:txBody>
      </p:sp>
    </p:spTree>
    <p:extLst>
      <p:ext uri="{BB962C8B-B14F-4D97-AF65-F5344CB8AC3E}">
        <p14:creationId xmlns:p14="http://schemas.microsoft.com/office/powerpoint/2010/main" val="3727109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1_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97858"/>
            <a:ext cx="5378548" cy="751405"/>
          </a:xfrm>
        </p:spPr>
        <p:txBody>
          <a:bodyPr>
            <a:spAutoFit/>
          </a:bodyPr>
          <a:lstStyle>
            <a:lvl1pPr>
              <a:defRPr sz="4117" baseline="0">
                <a:solidFill>
                  <a:schemeClr val="tx1"/>
                </a:solidFill>
              </a:defRPr>
            </a:lvl1pPr>
          </a:lstStyle>
          <a:p>
            <a:r>
              <a:rPr lang="en-US" dirty="0"/>
              <a:t>50/50 photo layout</a:t>
            </a:r>
          </a:p>
        </p:txBody>
      </p:sp>
      <p:sp>
        <p:nvSpPr>
          <p:cNvPr id="6" name="Picture Placeholder 5"/>
          <p:cNvSpPr>
            <a:spLocks noGrp="1"/>
          </p:cNvSpPr>
          <p:nvPr>
            <p:ph type="pic" sz="quarter" idx="11" hasCustomPrompt="1"/>
          </p:nvPr>
        </p:nvSpPr>
        <p:spPr>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anchor="ctr"/>
          <a:lstStyle>
            <a:lvl1pPr marL="0" marR="0" indent="0" algn="ctr" defTabSz="914192" rtl="0" eaLnBrk="1" fontAlgn="auto" latinLnBrk="0" hangingPunct="1">
              <a:lnSpc>
                <a:spcPct val="90000"/>
              </a:lnSpc>
              <a:spcBef>
                <a:spcPct val="20000"/>
              </a:spcBef>
              <a:spcAft>
                <a:spcPts val="0"/>
              </a:spcAft>
              <a:buClrTx/>
              <a:buSzPct val="90000"/>
              <a:buFont typeface="Arial" pitchFamily="34" charset="0"/>
              <a:buNone/>
              <a:tabLst/>
              <a:defRPr lang="en-US" sz="1567" b="1" kern="1200" cap="none" spc="0" baseline="0" dirty="0">
                <a:solidFill>
                  <a:schemeClr val="bg1"/>
                </a:solidFill>
                <a:effectLst>
                  <a:outerShdw blurRad="38100" dist="38100" dir="2700000" algn="tl">
                    <a:srgbClr val="000000">
                      <a:alpha val="43137"/>
                    </a:srgbClr>
                  </a:outerShdw>
                </a:effectLst>
                <a:latin typeface="+mn-lt"/>
                <a:ea typeface="+mn-ea"/>
                <a:cs typeface="+mn-cs"/>
              </a:defRPr>
            </a:lvl1pPr>
          </a:lstStyle>
          <a:p>
            <a:br>
              <a:rPr lang="en-US" dirty="0"/>
            </a:br>
            <a:br>
              <a:rPr lang="en-US" dirty="0"/>
            </a:br>
            <a:br>
              <a:rPr lang="en-US" dirty="0"/>
            </a:br>
            <a:r>
              <a:rPr lang="en-US" dirty="0"/>
              <a:t>Click icon to add picture</a:t>
            </a:r>
          </a:p>
        </p:txBody>
      </p:sp>
      <p:sp>
        <p:nvSpPr>
          <p:cNvPr id="10"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1470171131"/>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38342423"/>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Light Gray Blank">
    <p:bg>
      <p:bgPr>
        <a:solidFill>
          <a:schemeClr val="tx1">
            <a:lumMod val="9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54878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Dark Gray Blank">
    <p:bg>
      <p:bgPr>
        <a:solidFill>
          <a:schemeClr val="accent6"/>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1954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dirty="0"/>
              <a:t>Confidentiality slide</a:t>
            </a:r>
          </a:p>
        </p:txBody>
      </p:sp>
      <p:sp>
        <p:nvSpPr>
          <p:cNvPr id="3" name="TextBox 2">
            <a:extLst>
              <a:ext uri="{FF2B5EF4-FFF2-40B4-BE49-F238E27FC236}">
                <a16:creationId xmlns:a16="http://schemas.microsoft.com/office/drawing/2014/main" id="{DBD07666-5C5E-4C40-8C68-86D1F3CAB0C5}"/>
              </a:ext>
            </a:extLst>
          </p:cNvPr>
          <p:cNvSpPr txBox="1"/>
          <p:nvPr userDrawn="1"/>
        </p:nvSpPr>
        <p:spPr>
          <a:xfrm>
            <a:off x="584200" y="4173080"/>
            <a:ext cx="11022584" cy="2095958"/>
          </a:xfrm>
          <a:prstGeom prst="rect">
            <a:avLst/>
          </a:prstGeom>
          <a:noFill/>
        </p:spPr>
        <p:txBody>
          <a:bodyPr wrap="square" lIns="182880" tIns="146304" rIns="182880" bIns="146304" rtlCol="0" anchor="ctr">
            <a:spAutoFit/>
          </a:bodyPr>
          <a:lstStyle/>
          <a:p>
            <a:pPr algn="ctr">
              <a:lnSpc>
                <a:spcPct val="90000"/>
              </a:lnSpc>
              <a:spcBef>
                <a:spcPts val="1200"/>
              </a:spcBef>
              <a:spcAft>
                <a:spcPts val="600"/>
              </a:spcAft>
            </a:pPr>
            <a:r>
              <a:rPr lang="en-US" sz="2000" dirty="0">
                <a:gradFill>
                  <a:gsLst>
                    <a:gs pos="2917">
                      <a:schemeClr val="tx1"/>
                    </a:gs>
                    <a:gs pos="30000">
                      <a:schemeClr val="tx1"/>
                    </a:gs>
                  </a:gsLst>
                  <a:lin ang="5400000" scaled="0"/>
                </a:gradFill>
              </a:rPr>
              <a:t>Microsoft Ready content is </a:t>
            </a:r>
            <a:r>
              <a:rPr lang="en-US" sz="20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0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dirty="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0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dirty="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000" dirty="0">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userDrawn="1"/>
        </p:nvSpPr>
        <p:spPr bwMode="gray">
          <a:xfrm>
            <a:off x="2697102"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userDrawn="1"/>
        </p:nvSpPr>
        <p:spPr bwMode="gray">
          <a:xfrm>
            <a:off x="5318069"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userDrawn="1"/>
        </p:nvGrpSpPr>
        <p:grpSpPr bwMode="gray">
          <a:xfrm flipH="1">
            <a:off x="5901486" y="2178437"/>
            <a:ext cx="436044" cy="827404"/>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grpSp>
      <p:sp>
        <p:nvSpPr>
          <p:cNvPr id="149" name="Oval 148">
            <a:extLst>
              <a:ext uri="{FF2B5EF4-FFF2-40B4-BE49-F238E27FC236}">
                <a16:creationId xmlns:a16="http://schemas.microsoft.com/office/drawing/2014/main" id="{88B05F2C-2F66-43AA-A9E2-803B1F843606}"/>
              </a:ext>
            </a:extLst>
          </p:cNvPr>
          <p:cNvSpPr/>
          <p:nvPr userDrawn="1"/>
        </p:nvSpPr>
        <p:spPr bwMode="gray">
          <a:xfrm>
            <a:off x="7892021"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userDrawn="1"/>
        </p:nvGrpSpPr>
        <p:grpSpPr bwMode="gray">
          <a:xfrm>
            <a:off x="8118306" y="2286842"/>
            <a:ext cx="1150309" cy="610594"/>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userDrawn="1"/>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userDrawn="1"/>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userDrawn="1"/>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userDrawn="1"/>
        </p:nvGrpSpPr>
        <p:grpSpPr bwMode="gray">
          <a:xfrm>
            <a:off x="3132278" y="2298246"/>
            <a:ext cx="718204" cy="544549"/>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234126335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1"/>
                </a:solidFill>
              </a:defRPr>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97254" y="1197321"/>
            <a:ext cx="11653522" cy="2404346"/>
          </a:xfrm>
        </p:spPr>
        <p:txBody>
          <a:bodyPr/>
          <a:lstStyle>
            <a:lvl1pPr marL="0" indent="0">
              <a:buNone/>
              <a:defRPr sz="3234">
                <a:solidFill>
                  <a:schemeClr val="tx1"/>
                </a:solidFill>
                <a:latin typeface="Consolas" panose="020B0609020204030204" pitchFamily="49" charset="0"/>
                <a:cs typeface="Consolas" panose="020B0609020204030204" pitchFamily="49" charset="0"/>
              </a:defRPr>
            </a:lvl1pPr>
            <a:lvl2pPr marL="339661" indent="0">
              <a:buNone/>
              <a:defRPr>
                <a:solidFill>
                  <a:schemeClr val="tx1"/>
                </a:solidFill>
                <a:latin typeface="Consolas" panose="020B0609020204030204" pitchFamily="49" charset="0"/>
                <a:cs typeface="Consolas" panose="020B0609020204030204" pitchFamily="49" charset="0"/>
              </a:defRPr>
            </a:lvl2pPr>
            <a:lvl3pPr marL="572979" indent="0">
              <a:buNone/>
              <a:defRPr>
                <a:solidFill>
                  <a:schemeClr val="tx1"/>
                </a:solidFill>
                <a:latin typeface="Consolas" panose="020B0609020204030204" pitchFamily="49" charset="0"/>
                <a:cs typeface="Consolas" panose="020B0609020204030204" pitchFamily="49" charset="0"/>
              </a:defRPr>
            </a:lvl3pPr>
            <a:lvl4pPr marL="798362" indent="0">
              <a:buNone/>
              <a:defRPr>
                <a:solidFill>
                  <a:schemeClr val="tx1"/>
                </a:solidFill>
                <a:latin typeface="Consolas" panose="020B0609020204030204" pitchFamily="49" charset="0"/>
                <a:cs typeface="Consolas" panose="020B0609020204030204" pitchFamily="49" charset="0"/>
              </a:defRPr>
            </a:lvl4pPr>
            <a:lvl5pPr marL="1030094" indent="0">
              <a:buNone/>
              <a:defRPr>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16843024"/>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992C132-756C-4E79-BD44-1D1BA7BC1C2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14786" cy="6858000"/>
          </a:xfrm>
          <a:prstGeom prst="rect">
            <a:avLst/>
          </a:prstGeom>
        </p:spPr>
      </p:pic>
      <p:sp>
        <p:nvSpPr>
          <p:cNvPr id="8" name="Rectangle 7">
            <a:extLst>
              <a:ext uri="{FF2B5EF4-FFF2-40B4-BE49-F238E27FC236}">
                <a16:creationId xmlns:a16="http://schemas.microsoft.com/office/drawing/2014/main" id="{3691C11D-3964-4BB0-B796-FEA507550629}"/>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a:extLst>
              <a:ext uri="{FF2B5EF4-FFF2-40B4-BE49-F238E27FC236}">
                <a16:creationId xmlns:a16="http://schemas.microsoft.com/office/drawing/2014/main" id="{E4E3C03F-2C8A-4774-B66F-35EB42C7EAB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10" name="Picture 9">
            <a:extLst>
              <a:ext uri="{FF2B5EF4-FFF2-40B4-BE49-F238E27FC236}">
                <a16:creationId xmlns:a16="http://schemas.microsoft.com/office/drawing/2014/main" id="{EA1C0813-B896-42D7-8F24-9E6611D6CEB0}"/>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
        <p:nvSpPr>
          <p:cNvPr id="2" name="TextBox 1">
            <a:extLst>
              <a:ext uri="{FF2B5EF4-FFF2-40B4-BE49-F238E27FC236}">
                <a16:creationId xmlns:a16="http://schemas.microsoft.com/office/drawing/2014/main" id="{3A5C583B-94EB-4939-86BD-77C19671D037}"/>
              </a:ext>
            </a:extLst>
          </p:cNvPr>
          <p:cNvSpPr txBox="1"/>
          <p:nvPr userDrawn="1"/>
        </p:nvSpPr>
        <p:spPr>
          <a:xfrm>
            <a:off x="194536" y="2632329"/>
            <a:ext cx="12191999" cy="1593341"/>
          </a:xfrm>
          <a:prstGeom prst="rect">
            <a:avLst/>
          </a:prstGeom>
          <a:noFill/>
        </p:spPr>
        <p:txBody>
          <a:bodyPr wrap="square" lIns="179285" tIns="143428" rIns="179285" bIns="143428" rtlCol="0">
            <a:spAutoFit/>
          </a:bodyPr>
          <a:lstStyle/>
          <a:p>
            <a:pPr algn="l">
              <a:lnSpc>
                <a:spcPct val="90000"/>
              </a:lnSpc>
              <a:spcAft>
                <a:spcPts val="588"/>
              </a:spcAft>
            </a:pPr>
            <a:r>
              <a:rPr lang="en-US" sz="9411" dirty="0">
                <a:solidFill>
                  <a:schemeClr val="bg1"/>
                </a:solidFill>
                <a:latin typeface="+mj-lt"/>
              </a:rPr>
              <a:t>Thank You</a:t>
            </a:r>
          </a:p>
        </p:txBody>
      </p:sp>
    </p:spTree>
    <p:extLst>
      <p:ext uri="{BB962C8B-B14F-4D97-AF65-F5344CB8AC3E}">
        <p14:creationId xmlns:p14="http://schemas.microsoft.com/office/powerpoint/2010/main" val="712709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hank You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665A84C-887B-4C8F-AA82-475CC75CA61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63A98012-256F-42B6-9F41-6BAB05307CDF}"/>
              </a:ext>
            </a:extLst>
          </p:cNvPr>
          <p:cNvSpPr/>
          <p:nvPr userDrawn="1"/>
        </p:nvSpPr>
        <p:spPr bwMode="auto">
          <a:xfrm>
            <a:off x="0" y="0"/>
            <a:ext cx="9756401" cy="6858000"/>
          </a:xfrm>
          <a:prstGeom prst="rect">
            <a:avLst/>
          </a:prstGeom>
          <a:gradFill flip="none" rotWithShape="1">
            <a:gsLst>
              <a:gs pos="57000">
                <a:srgbClr val="000000">
                  <a:alpha val="41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EFB2AA09-9289-4A37-A514-80F7AAE8A65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9" name="Picture 8">
            <a:extLst>
              <a:ext uri="{FF2B5EF4-FFF2-40B4-BE49-F238E27FC236}">
                <a16:creationId xmlns:a16="http://schemas.microsoft.com/office/drawing/2014/main" id="{7D54480F-1872-4932-9CFE-03BD1176195D}"/>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
        <p:nvSpPr>
          <p:cNvPr id="10" name="TextBox 9">
            <a:extLst>
              <a:ext uri="{FF2B5EF4-FFF2-40B4-BE49-F238E27FC236}">
                <a16:creationId xmlns:a16="http://schemas.microsoft.com/office/drawing/2014/main" id="{31114D0D-4452-4D0D-8D92-0E07C17E0DDB}"/>
              </a:ext>
            </a:extLst>
          </p:cNvPr>
          <p:cNvSpPr txBox="1"/>
          <p:nvPr userDrawn="1"/>
        </p:nvSpPr>
        <p:spPr>
          <a:xfrm>
            <a:off x="194536" y="2632329"/>
            <a:ext cx="12191999" cy="1593341"/>
          </a:xfrm>
          <a:prstGeom prst="rect">
            <a:avLst/>
          </a:prstGeom>
          <a:noFill/>
        </p:spPr>
        <p:txBody>
          <a:bodyPr wrap="square" lIns="179285" tIns="143428" rIns="179285" bIns="143428" rtlCol="0">
            <a:spAutoFit/>
          </a:bodyPr>
          <a:lstStyle/>
          <a:p>
            <a:pPr algn="l">
              <a:lnSpc>
                <a:spcPct val="90000"/>
              </a:lnSpc>
              <a:spcAft>
                <a:spcPts val="588"/>
              </a:spcAft>
            </a:pPr>
            <a:r>
              <a:rPr lang="en-US" sz="9411" dirty="0">
                <a:solidFill>
                  <a:schemeClr val="bg1"/>
                </a:solidFill>
                <a:latin typeface="+mj-lt"/>
              </a:rPr>
              <a:t>Thank You</a:t>
            </a:r>
          </a:p>
        </p:txBody>
      </p:sp>
    </p:spTree>
    <p:extLst>
      <p:ext uri="{BB962C8B-B14F-4D97-AF65-F5344CB8AC3E}">
        <p14:creationId xmlns:p14="http://schemas.microsoft.com/office/powerpoint/2010/main" val="387861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Closing logo slide light">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a:t>
            </a:r>
            <a:r>
              <a:rPr lang="en-US" sz="686" baseline="0" dirty="0">
                <a:gradFill>
                  <a:gsLst>
                    <a:gs pos="0">
                      <a:schemeClr val="tx1"/>
                    </a:gs>
                    <a:gs pos="100000">
                      <a:schemeClr val="tx1"/>
                    </a:gs>
                  </a:gsLst>
                  <a:lin ang="5400000" scaled="0"/>
                </a:gradFill>
                <a:cs typeface="Segoe UI" pitchFamily="34" charset="0"/>
              </a:rPr>
              <a:t> Copyright</a:t>
            </a:r>
            <a:r>
              <a:rPr lang="en-US" sz="686" dirty="0">
                <a:gradFill>
                  <a:gsLst>
                    <a:gs pos="0">
                      <a:schemeClr val="tx1"/>
                    </a:gs>
                    <a:gs pos="100000">
                      <a:schemeClr val="tx1"/>
                    </a:gs>
                  </a:gsLst>
                  <a:lin ang="5400000" scaled="0"/>
                </a:gradFill>
                <a:cs typeface="Segoe UI" pitchFamily="34" charset="0"/>
              </a:rPr>
              <a:t> 2018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426394833"/>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Closing logo slide dark">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solidFill>
                  <a:schemeClr val="bg1"/>
                </a:solidFill>
                <a:cs typeface="Segoe UI" pitchFamily="34" charset="0"/>
              </a:rPr>
              <a:t>© Copyright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1360126846"/>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1_Closing logo slide dark">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solidFill>
                  <a:schemeClr val="bg1"/>
                </a:solidFill>
                <a:cs typeface="Segoe UI" pitchFamily="34" charset="0"/>
              </a:rPr>
              <a:t>© Copyright 2018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3838867991"/>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7"/>
            <a:ext cx="11653523" cy="2806859"/>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5603444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userDrawn="1">
  <p:cSld name="Icon librar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63546" y="431201"/>
            <a:ext cx="5288906" cy="108637"/>
          </a:xfrm>
        </p:spPr>
        <p:txBody>
          <a:bodyPr wrap="square" lIns="0" tIns="0" rIns="0" bIns="0" anchor="ctr">
            <a:spAutoFit/>
          </a:bodyPr>
          <a:lstStyle>
            <a:lvl1pPr>
              <a:defRPr sz="784" spc="0">
                <a:gradFill>
                  <a:gsLst>
                    <a:gs pos="0">
                      <a:schemeClr val="tx1">
                        <a:lumMod val="60000"/>
                        <a:lumOff val="40000"/>
                      </a:schemeClr>
                    </a:gs>
                    <a:gs pos="100000">
                      <a:schemeClr val="tx1">
                        <a:lumMod val="60000"/>
                        <a:lumOff val="40000"/>
                      </a:schemeClr>
                    </a:gs>
                  </a:gsLst>
                  <a:lin ang="5400000" scaled="0"/>
                </a:gradFill>
                <a:latin typeface="Segoe UI Semibold" panose="020B0702040204020203" pitchFamily="34" charset="0"/>
                <a:cs typeface="Segoe UI Semibold" panose="020B0702040204020203" pitchFamily="34" charset="0"/>
              </a:defRPr>
            </a:lvl1pPr>
          </a:lstStyle>
          <a:p>
            <a:r>
              <a:rPr lang="en-US" dirty="0"/>
              <a:t>Section title</a:t>
            </a:r>
          </a:p>
        </p:txBody>
      </p:sp>
      <p:sp>
        <p:nvSpPr>
          <p:cNvPr id="3" name="TextBox 2"/>
          <p:cNvSpPr txBox="1"/>
          <p:nvPr userDrawn="1"/>
        </p:nvSpPr>
        <p:spPr>
          <a:xfrm>
            <a:off x="445198" y="431201"/>
            <a:ext cx="2065142" cy="108637"/>
          </a:xfrm>
          <a:prstGeom prst="rect">
            <a:avLst/>
          </a:prstGeom>
        </p:spPr>
        <p:txBody>
          <a:bodyPr vert="horz" wrap="square" lIns="0" tIns="0" rIns="0" bIns="0" rtlCol="0" anchor="ctr">
            <a:spAutoFit/>
          </a:bodyPr>
          <a:lstStyle>
            <a:lvl1pPr algn="l" defTabSz="932742" eaLnBrk="1" latinLnBrk="0" hangingPunct="1">
              <a:lnSpc>
                <a:spcPct val="90000"/>
              </a:lnSpc>
              <a:spcBef>
                <a:spcPct val="0"/>
              </a:spcBef>
              <a:buNone/>
              <a:defRPr lang="en-US" sz="1000" b="0" cap="none" spc="0" baseline="0" dirty="0" smtClean="0">
                <a:ln w="3175">
                  <a:noFill/>
                </a:ln>
                <a:gradFill>
                  <a:gsLst>
                    <a:gs pos="0">
                      <a:schemeClr val="tx1">
                        <a:lumMod val="60000"/>
                        <a:lumOff val="40000"/>
                      </a:schemeClr>
                    </a:gs>
                    <a:gs pos="100000">
                      <a:schemeClr val="tx1">
                        <a:lumMod val="60000"/>
                        <a:lumOff val="40000"/>
                      </a:schemeClr>
                    </a:gs>
                  </a:gsLst>
                  <a:lin ang="5400000" scaled="0"/>
                </a:gradFill>
                <a:effectLst/>
                <a:cs typeface="Segoe UI" pitchFamily="34" charset="0"/>
              </a:defRPr>
            </a:lvl1pPr>
          </a:lstStyle>
          <a:p>
            <a:pPr lvl="0"/>
            <a:r>
              <a:rPr lang="en-US" sz="784" dirty="0">
                <a:latin typeface="Segoe UI Semibold" panose="020B0702040204020203" pitchFamily="34" charset="0"/>
                <a:cs typeface="Segoe UI Semibold" panose="020B0702040204020203" pitchFamily="34" charset="0"/>
              </a:rPr>
              <a:t>Monoline icons   </a:t>
            </a:r>
            <a:r>
              <a:rPr lang="en-US" sz="784" b="0" kern="1200" cap="none" spc="0" baseline="0" dirty="0">
                <a:ln w="3175">
                  <a:noFill/>
                </a:ln>
                <a:gradFill>
                  <a:gsLst>
                    <a:gs pos="0">
                      <a:schemeClr val="tx1">
                        <a:lumMod val="60000"/>
                        <a:lumOff val="40000"/>
                      </a:schemeClr>
                    </a:gs>
                    <a:gs pos="100000">
                      <a:schemeClr val="tx1">
                        <a:lumMod val="60000"/>
                        <a:lumOff val="40000"/>
                      </a:schemeClr>
                    </a:gs>
                  </a:gsLst>
                  <a:lin ang="5400000" scaled="0"/>
                </a:gradFill>
                <a:effectLst/>
                <a:latin typeface="+mn-lt"/>
                <a:ea typeface="+mn-ea"/>
                <a:cs typeface="Segoe UI Semibold" panose="020B0702040204020203" pitchFamily="34" charset="0"/>
              </a:rPr>
              <a:t>/   PowerPoint</a:t>
            </a:r>
            <a:endParaRPr lang="en-US" sz="784" dirty="0">
              <a:latin typeface="+mn-lt"/>
              <a:cs typeface="Segoe UI Semibold" panose="020B0702040204020203" pitchFamily="34" charset="0"/>
            </a:endParaRPr>
          </a:p>
        </p:txBody>
      </p:sp>
      <p:grpSp>
        <p:nvGrpSpPr>
          <p:cNvPr id="4" name="Group 3"/>
          <p:cNvGrpSpPr>
            <a:grpSpLocks noChangeAspect="1"/>
          </p:cNvGrpSpPr>
          <p:nvPr userDrawn="1"/>
        </p:nvGrpSpPr>
        <p:grpSpPr>
          <a:xfrm>
            <a:off x="11023167" y="412549"/>
            <a:ext cx="719065" cy="153377"/>
            <a:chOff x="4846638" y="3441700"/>
            <a:chExt cx="5910262" cy="1260475"/>
          </a:xfrm>
        </p:grpSpPr>
        <p:sp>
          <p:nvSpPr>
            <p:cNvPr id="5"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6"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7"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8"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9"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grpSp>
    </p:spTree>
    <p:extLst>
      <p:ext uri="{BB962C8B-B14F-4D97-AF65-F5344CB8AC3E}">
        <p14:creationId xmlns:p14="http://schemas.microsoft.com/office/powerpoint/2010/main" val="3092514658"/>
      </p:ext>
    </p:extLst>
  </p:cSld>
  <p:clrMapOvr>
    <a:masterClrMapping/>
  </p:clrMapOvr>
  <p:transition>
    <p:fade/>
  </p:transition>
  <p:extLst mod="1">
    <p:ext uri="{DCECCB84-F9BA-43D5-87BE-67443E8EF086}">
      <p15:sldGuideLst xmlns:p15="http://schemas.microsoft.com/office/powerpoint/2012/main"/>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Group of people in an office working." title="Microsoft Brand Photo">
            <a:extLst>
              <a:ext uri="{FF2B5EF4-FFF2-40B4-BE49-F238E27FC236}">
                <a16:creationId xmlns:a16="http://schemas.microsoft.com/office/drawing/2014/main" id="{31FDC4B1-0785-4203-90B0-3586BA98650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1" y="0"/>
            <a:ext cx="6858000" cy="6858000"/>
          </a:xfrm>
          <a:prstGeom prst="rect">
            <a:avLst/>
          </a:prstGeom>
        </p:spPr>
      </p:pic>
    </p:spTree>
    <p:extLst>
      <p:ext uri="{BB962C8B-B14F-4D97-AF65-F5344CB8AC3E}">
        <p14:creationId xmlns:p14="http://schemas.microsoft.com/office/powerpoint/2010/main" val="11367726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Group of people in an office working." title="Microsoft Brand Photo">
            <a:extLst>
              <a:ext uri="{FF2B5EF4-FFF2-40B4-BE49-F238E27FC236}">
                <a16:creationId xmlns:a16="http://schemas.microsoft.com/office/drawing/2014/main" id="{D112DACC-3558-4EAF-B807-7C520DCF912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1" y="0"/>
            <a:ext cx="6858000" cy="6858000"/>
          </a:xfrm>
          <a:prstGeom prst="rect">
            <a:avLst/>
          </a:prstGeom>
        </p:spPr>
      </p:pic>
    </p:spTree>
    <p:extLst>
      <p:ext uri="{BB962C8B-B14F-4D97-AF65-F5344CB8AC3E}">
        <p14:creationId xmlns:p14="http://schemas.microsoft.com/office/powerpoint/2010/main" val="3853333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43058790"/>
      </p:ext>
    </p:extLst>
  </p:cSld>
  <p:clrMapOvr>
    <a:masterClrMapping/>
  </p:clrMapOvr>
  <p:transition>
    <p:fade/>
  </p:transition>
  <p:extLst mod="1">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5553199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5695098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6060505"/>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41084839"/>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9659579"/>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34339949"/>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66921294"/>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29223601"/>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861416569"/>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20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236763322"/>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516274290"/>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461592255"/>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3223"/>
            <a:ext cx="3888310"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7" y="3769822"/>
            <a:ext cx="388831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ubtitle</a:t>
            </a:r>
          </a:p>
        </p:txBody>
      </p:sp>
    </p:spTree>
    <p:extLst>
      <p:ext uri="{BB962C8B-B14F-4D97-AF65-F5344CB8AC3E}">
        <p14:creationId xmlns:p14="http://schemas.microsoft.com/office/powerpoint/2010/main" val="26580408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50"/>
                                        <p:tgtEl>
                                          <p:spTgt spid="2"/>
                                        </p:tgtEl>
                                      </p:cBhvr>
                                    </p:animEffect>
                                  </p:childTnLst>
                                </p:cTn>
                              </p:par>
                              <p:par>
                                <p:cTn id="8" presetID="63" presetClass="path" presetSubtype="0" decel="100000" fill="hold" grpId="1" nodeType="withEffect">
                                  <p:stCondLst>
                                    <p:cond delay="0"/>
                                  </p:stCondLst>
                                  <p:childTnLst>
                                    <p:animMotion origin="layout" path="M 3.125E-6 1.48148E-6 L 0.02916 1.48148E-6 " pathEditMode="relative" rAng="0" ptsTypes="AA">
                                      <p:cBhvr>
                                        <p:cTn id="9" dur="500" spd="-100000" fill="hold"/>
                                        <p:tgtEl>
                                          <p:spTgt spid="2"/>
                                        </p:tgtEl>
                                        <p:attrNameLst>
                                          <p:attrName>ppt_x</p:attrName>
                                          <p:attrName>ppt_y</p:attrName>
                                        </p:attrNameLst>
                                      </p:cBhvr>
                                      <p:rCtr x="1458" y="0"/>
                                    </p:animMotion>
                                  </p:childTnLst>
                                </p:cTn>
                              </p:par>
                              <p:par>
                                <p:cTn id="10" presetID="10"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50"/>
                                        <p:tgtEl>
                                          <p:spTgt spid="5"/>
                                        </p:tgtEl>
                                      </p:cBhvr>
                                    </p:animEffect>
                                  </p:childTnLst>
                                </p:cTn>
                              </p:par>
                              <p:par>
                                <p:cTn id="13" presetID="63" presetClass="path" presetSubtype="0" decel="100000" fill="hold" grpId="1" nodeType="withEffect">
                                  <p:stCondLst>
                                    <p:cond delay="0"/>
                                  </p:stCondLst>
                                  <p:childTnLst>
                                    <p:animMotion origin="layout" path="M 3.125E-6 1.48148E-6 L 0.02916 1.48148E-6 " pathEditMode="relative" rAng="0" ptsTypes="AA">
                                      <p:cBhvr>
                                        <p:cTn id="14" dur="500" spd="-100000" fill="hold"/>
                                        <p:tgtEl>
                                          <p:spTgt spid="5"/>
                                        </p:tgtEl>
                                        <p:attrNameLst>
                                          <p:attrName>ppt_x</p:attrName>
                                          <p:attrName>ppt_y</p:attrName>
                                        </p:attrNameLst>
                                      </p:cBhvr>
                                      <p:rCtr x="145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350"/>
                        <p:tgtEl>
                          <p:spTgt spid="5"/>
                        </p:tgtEl>
                      </p:cBhvr>
                    </p:animEffect>
                  </p:childTnLst>
                </p:cTn>
              </p:par>
            </p:tnLst>
          </p:tmpl>
        </p:tmplLst>
      </p:bldP>
      <p:bldP spid="5" grpId="1">
        <p:tmplLst>
          <p:tmpl>
            <p:tnLst>
              <p:par>
                <p:cTn presetID="63" presetClass="path" presetSubtype="0" decel="100000" fill="hold" nodeType="withEffect">
                  <p:stCondLst>
                    <p:cond delay="0"/>
                  </p:stCondLst>
                  <p:childTnLst>
                    <p:animMotion origin="layout" path="M 3.125E-6 1.48148E-6 L 0.02916 1.48148E-6 " pathEditMode="relative" rAng="0" ptsTypes="AA">
                      <p:cBhvr>
                        <p:cTn dur="500" spd="-100000" fill="hold"/>
                        <p:tgtEl>
                          <p:spTgt spid="5"/>
                        </p:tgtEl>
                        <p:attrNameLst>
                          <p:attrName>ppt_x</p:attrName>
                          <p:attrName>ppt_y</p:attrName>
                        </p:attrNameLst>
                      </p:cBhvr>
                      <p:rCtr x="1458" y="0"/>
                    </p:animMotion>
                  </p:childTnLst>
                </p:cTn>
              </p:par>
            </p:tnLst>
          </p:tmpl>
        </p:tmplLst>
      </p:bldP>
    </p:bldLst>
  </p:timing>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279687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4304064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5952211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3681572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681110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2149913"/>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0153658"/>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50710100"/>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6011140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26109884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4_Insert Photo">
    <p:spTree>
      <p:nvGrpSpPr>
        <p:cNvPr id="1" name=""/>
        <p:cNvGrpSpPr/>
        <p:nvPr/>
      </p:nvGrpSpPr>
      <p:grpSpPr>
        <a:xfrm>
          <a:off x="0" y="0"/>
          <a:ext cx="0" cy="0"/>
          <a:chOff x="0" y="0"/>
          <a:chExt cx="0" cy="0"/>
        </a:xfrm>
      </p:grpSpPr>
      <p:pic>
        <p:nvPicPr>
          <p:cNvPr id="44" name="Picture Placeholder 7"/>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918075" y="-4978"/>
            <a:ext cx="6273925" cy="5684621"/>
          </a:xfrm>
          <a:prstGeom prst="rect">
            <a:avLst/>
          </a:prstGeom>
        </p:spPr>
      </p:pic>
      <p:sp>
        <p:nvSpPr>
          <p:cNvPr id="20" name="Picture Placeholder 144"/>
          <p:cNvSpPr>
            <a:spLocks noGrp="1"/>
          </p:cNvSpPr>
          <p:nvPr>
            <p:ph type="pic" sz="quarter" idx="20" hasCustomPrompt="1"/>
          </p:nvPr>
        </p:nvSpPr>
        <p:spPr>
          <a:xfrm>
            <a:off x="5918075" y="1"/>
            <a:ext cx="6273925" cy="5684621"/>
          </a:xfrm>
          <a:prstGeom prst="rect">
            <a:avLst/>
          </a:prstGeom>
        </p:spPr>
        <p:txBody>
          <a:bodyPr anchor="ctr" anchorCtr="0">
            <a:noAutofit/>
          </a:bodyPr>
          <a:lstStyle>
            <a:lvl1pPr marL="0" indent="0" algn="ctr">
              <a:buNone/>
              <a:defRPr baseline="0">
                <a:solidFill>
                  <a:schemeClr val="bg1"/>
                </a:solidFill>
              </a:defRPr>
            </a:lvl1pPr>
          </a:lstStyle>
          <a:p>
            <a:r>
              <a:rPr lang="en-US" dirty="0"/>
              <a:t>Drag picture here</a:t>
            </a:r>
          </a:p>
        </p:txBody>
      </p:sp>
      <p:sp>
        <p:nvSpPr>
          <p:cNvPr id="21" name="Title 1"/>
          <p:cNvSpPr>
            <a:spLocks noGrp="1"/>
          </p:cNvSpPr>
          <p:nvPr>
            <p:ph type="ctrTitle"/>
          </p:nvPr>
        </p:nvSpPr>
        <p:spPr>
          <a:xfrm>
            <a:off x="613787" y="851201"/>
            <a:ext cx="4699724" cy="1043599"/>
          </a:xfrm>
          <a:prstGeom prst="rect">
            <a:avLst/>
          </a:prstGeom>
        </p:spPr>
        <p:txBody>
          <a:bodyPr lIns="0" tIns="0" rIns="0" bIns="0" anchor="t" anchorCtr="0">
            <a:noAutofit/>
          </a:bodyPr>
          <a:lstStyle>
            <a:lvl1pPr algn="l">
              <a:defRPr sz="3200" b="1">
                <a:solidFill>
                  <a:schemeClr val="tx1">
                    <a:lumMod val="50000"/>
                    <a:lumOff val="50000"/>
                  </a:schemeClr>
                </a:solidFill>
                <a:latin typeface="+mj-lt"/>
              </a:defRPr>
            </a:lvl1pPr>
          </a:lstStyle>
          <a:p>
            <a:r>
              <a:rPr lang="en-US"/>
              <a:t>Click to edit Master title style</a:t>
            </a:r>
          </a:p>
        </p:txBody>
      </p:sp>
      <p:sp>
        <p:nvSpPr>
          <p:cNvPr id="22" name="Text Placeholder 132"/>
          <p:cNvSpPr>
            <a:spLocks noGrp="1"/>
          </p:cNvSpPr>
          <p:nvPr>
            <p:ph type="body" sz="quarter" idx="11"/>
          </p:nvPr>
        </p:nvSpPr>
        <p:spPr>
          <a:xfrm>
            <a:off x="622300" y="1930400"/>
            <a:ext cx="4724400" cy="3382923"/>
          </a:xfrm>
          <a:prstGeom prst="rect">
            <a:avLst/>
          </a:prstGeom>
        </p:spPr>
        <p:txBody>
          <a:bodyPr lIns="0" tIns="0" rIns="0" bIns="0">
            <a:noAutofit/>
          </a:bodyPr>
          <a:lstStyle>
            <a:lvl1pPr marL="0" indent="0">
              <a:lnSpc>
                <a:spcPts val="1800"/>
              </a:lnSpc>
              <a:buNone/>
              <a:defRPr sz="1200">
                <a:solidFill>
                  <a:schemeClr val="bg2">
                    <a:lumMod val="25000"/>
                  </a:schemeClr>
                </a:solidFill>
              </a:defRPr>
            </a:lvl1pPr>
          </a:lstStyle>
          <a:p>
            <a:pPr lvl="0"/>
            <a:r>
              <a:rPr lang="en-US"/>
              <a:t>Click to edit Master text styles</a:t>
            </a:r>
          </a:p>
        </p:txBody>
      </p:sp>
      <p:cxnSp>
        <p:nvCxnSpPr>
          <p:cNvPr id="31" name="Straight Connector 30"/>
          <p:cNvCxnSpPr/>
          <p:nvPr userDrawn="1"/>
        </p:nvCxnSpPr>
        <p:spPr>
          <a:xfrm>
            <a:off x="13962495" y="10026651"/>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4" name="Rectangle 23"/>
          <p:cNvSpPr/>
          <p:nvPr userDrawn="1"/>
        </p:nvSpPr>
        <p:spPr>
          <a:xfrm>
            <a:off x="0" y="5689600"/>
            <a:ext cx="12192000" cy="1168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6" name="Text Placeholder 136"/>
          <p:cNvSpPr>
            <a:spLocks noGrp="1"/>
          </p:cNvSpPr>
          <p:nvPr>
            <p:ph type="body" sz="quarter" idx="35"/>
          </p:nvPr>
        </p:nvSpPr>
        <p:spPr>
          <a:xfrm>
            <a:off x="10933315" y="6301905"/>
            <a:ext cx="840508" cy="382948"/>
          </a:xfrm>
          <a:prstGeom prst="rect">
            <a:avLst/>
          </a:prstGeom>
        </p:spPr>
        <p:txBody>
          <a:bodyPr lIns="0" tIns="0" rIns="0" bIns="0">
            <a:noAutofit/>
          </a:bodyPr>
          <a:lstStyle>
            <a:lvl1pPr marL="0" marR="0" indent="0" algn="ctr" defTabSz="914225" rtl="0" eaLnBrk="1" fontAlgn="auto" latinLnBrk="0" hangingPunct="1">
              <a:lnSpc>
                <a:spcPct val="90000"/>
              </a:lnSpc>
              <a:spcBef>
                <a:spcPts val="0"/>
              </a:spcBef>
              <a:spcAft>
                <a:spcPts val="0"/>
              </a:spcAft>
              <a:buClrTx/>
              <a:buSzTx/>
              <a:buFont typeface="Arial" panose="020B0604020202020204" pitchFamily="34" charset="0"/>
              <a:buNone/>
              <a:tabLst/>
              <a:defRPr sz="800" b="0">
                <a:solidFill>
                  <a:schemeClr val="bg1">
                    <a:lumMod val="50000"/>
                  </a:schemeClr>
                </a:solidFill>
              </a:defRPr>
            </a:lvl1pPr>
            <a:lvl2pPr marL="457112" indent="0">
              <a:buNone/>
              <a:defRPr sz="800"/>
            </a:lvl2pPr>
            <a:lvl3pPr marL="914225" indent="0">
              <a:buNone/>
              <a:defRPr sz="800"/>
            </a:lvl3pPr>
            <a:lvl4pPr marL="1371337" indent="0">
              <a:buNone/>
              <a:defRPr sz="800"/>
            </a:lvl4pPr>
            <a:lvl5pPr marL="1828449" indent="0">
              <a:buNone/>
              <a:defRPr sz="800"/>
            </a:lvl5pPr>
          </a:lstStyle>
          <a:p>
            <a:pPr lvl="0"/>
            <a:r>
              <a:rPr lang="en-US"/>
              <a:t>Click to edit Master text styles</a:t>
            </a:r>
          </a:p>
        </p:txBody>
      </p:sp>
      <p:cxnSp>
        <p:nvCxnSpPr>
          <p:cNvPr id="27" name="Straight Connector 26"/>
          <p:cNvCxnSpPr/>
          <p:nvPr userDrawn="1"/>
        </p:nvCxnSpPr>
        <p:spPr>
          <a:xfrm>
            <a:off x="10523604" y="5930901"/>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8" name="Picture Placeholder 144"/>
          <p:cNvSpPr>
            <a:spLocks noGrp="1"/>
          </p:cNvSpPr>
          <p:nvPr>
            <p:ph type="pic" sz="quarter" idx="36" hasCustomPrompt="1"/>
          </p:nvPr>
        </p:nvSpPr>
        <p:spPr>
          <a:xfrm>
            <a:off x="202499" y="5884716"/>
            <a:ext cx="2064635" cy="834378"/>
          </a:xfrm>
          <a:prstGeom prst="rect">
            <a:avLst/>
          </a:prstGeom>
        </p:spPr>
        <p:txBody>
          <a:bodyPr anchor="ctr" anchorCtr="0">
            <a:noAutofit/>
          </a:bodyPr>
          <a:lstStyle>
            <a:lvl1pPr marL="0" indent="0" algn="ctr">
              <a:buNone/>
              <a:defRPr sz="1600">
                <a:solidFill>
                  <a:srgbClr val="7030A0"/>
                </a:solidFill>
              </a:defRPr>
            </a:lvl1pPr>
          </a:lstStyle>
          <a:p>
            <a:r>
              <a:rPr lang="en-US" dirty="0"/>
              <a:t>Drag logo here</a:t>
            </a:r>
          </a:p>
        </p:txBody>
      </p:sp>
      <p:sp>
        <p:nvSpPr>
          <p:cNvPr id="55" name="Text Placeholder 136"/>
          <p:cNvSpPr>
            <a:spLocks noGrp="1"/>
          </p:cNvSpPr>
          <p:nvPr>
            <p:ph type="body" sz="quarter" idx="31"/>
          </p:nvPr>
        </p:nvSpPr>
        <p:spPr>
          <a:xfrm>
            <a:off x="8892840" y="6156112"/>
            <a:ext cx="805425" cy="463954"/>
          </a:xfrm>
          <a:prstGeom prst="rect">
            <a:avLst/>
          </a:prstGeom>
        </p:spPr>
        <p:txBody>
          <a:bodyPr lIns="0" tIns="0" rIns="0" bIns="0">
            <a:noAutofit/>
          </a:bodyPr>
          <a:lstStyle>
            <a:lvl1pPr marL="0" marR="0" indent="0" algn="l" defTabSz="914225"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112" indent="0">
              <a:buNone/>
              <a:defRPr sz="800"/>
            </a:lvl2pPr>
            <a:lvl3pPr marL="914225" indent="0">
              <a:buNone/>
              <a:defRPr sz="800"/>
            </a:lvl3pPr>
            <a:lvl4pPr marL="1371337" indent="0">
              <a:buNone/>
              <a:defRPr sz="800"/>
            </a:lvl4pPr>
            <a:lvl5pPr marL="1828449" indent="0">
              <a:buNone/>
              <a:defRPr sz="800"/>
            </a:lvl5pPr>
          </a:lstStyle>
          <a:p>
            <a:pPr lvl="0"/>
            <a:r>
              <a:rPr lang="en-US"/>
              <a:t>Click to edit Master text styles</a:t>
            </a:r>
          </a:p>
        </p:txBody>
      </p:sp>
      <p:sp>
        <p:nvSpPr>
          <p:cNvPr id="56" name="Text Placeholder 136"/>
          <p:cNvSpPr>
            <a:spLocks noGrp="1"/>
          </p:cNvSpPr>
          <p:nvPr>
            <p:ph type="body" sz="quarter" idx="32"/>
          </p:nvPr>
        </p:nvSpPr>
        <p:spPr>
          <a:xfrm>
            <a:off x="7302675" y="6181251"/>
            <a:ext cx="879812" cy="463954"/>
          </a:xfrm>
          <a:prstGeom prst="rect">
            <a:avLst/>
          </a:prstGeom>
        </p:spPr>
        <p:txBody>
          <a:bodyPr lIns="0" tIns="0" rIns="0" bIns="0">
            <a:noAutofit/>
          </a:bodyPr>
          <a:lstStyle>
            <a:lvl1pPr marL="0" marR="0" indent="0" algn="l" defTabSz="914225"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112" indent="0">
              <a:buNone/>
              <a:defRPr sz="800"/>
            </a:lvl2pPr>
            <a:lvl3pPr marL="914225" indent="0">
              <a:buNone/>
              <a:defRPr sz="800"/>
            </a:lvl3pPr>
            <a:lvl4pPr marL="1371337" indent="0">
              <a:buNone/>
              <a:defRPr sz="800"/>
            </a:lvl4pPr>
            <a:lvl5pPr marL="1828449" indent="0">
              <a:buNone/>
              <a:defRPr sz="800"/>
            </a:lvl5pPr>
          </a:lstStyle>
          <a:p>
            <a:pPr lvl="0"/>
            <a:r>
              <a:rPr lang="en-US"/>
              <a:t>Click to edit Master text styles</a:t>
            </a:r>
          </a:p>
        </p:txBody>
      </p:sp>
      <p:sp>
        <p:nvSpPr>
          <p:cNvPr id="57" name="Text Placeholder 136"/>
          <p:cNvSpPr>
            <a:spLocks noGrp="1"/>
          </p:cNvSpPr>
          <p:nvPr>
            <p:ph type="body" sz="quarter" idx="33"/>
          </p:nvPr>
        </p:nvSpPr>
        <p:spPr>
          <a:xfrm>
            <a:off x="5307250" y="6156112"/>
            <a:ext cx="988642" cy="463954"/>
          </a:xfrm>
          <a:prstGeom prst="rect">
            <a:avLst/>
          </a:prstGeom>
        </p:spPr>
        <p:txBody>
          <a:bodyPr lIns="0" tIns="0" rIns="0" bIns="0">
            <a:noAutofit/>
          </a:bodyPr>
          <a:lstStyle>
            <a:lvl1pPr marL="0" marR="0" indent="0" algn="l" defTabSz="914225"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112" indent="0">
              <a:buNone/>
              <a:defRPr sz="800"/>
            </a:lvl2pPr>
            <a:lvl3pPr marL="914225" indent="0">
              <a:buNone/>
              <a:defRPr sz="800"/>
            </a:lvl3pPr>
            <a:lvl4pPr marL="1371337" indent="0">
              <a:buNone/>
              <a:defRPr sz="800"/>
            </a:lvl4pPr>
            <a:lvl5pPr marL="1828449" indent="0">
              <a:buNone/>
              <a:defRPr sz="800"/>
            </a:lvl5pPr>
          </a:lstStyle>
          <a:p>
            <a:pPr lvl="0"/>
            <a:r>
              <a:rPr lang="en-US"/>
              <a:t>Click to edit Master text styles</a:t>
            </a:r>
          </a:p>
        </p:txBody>
      </p:sp>
      <p:sp>
        <p:nvSpPr>
          <p:cNvPr id="58" name="Text Placeholder 136"/>
          <p:cNvSpPr>
            <a:spLocks noGrp="1"/>
          </p:cNvSpPr>
          <p:nvPr>
            <p:ph type="body" sz="quarter" idx="34"/>
          </p:nvPr>
        </p:nvSpPr>
        <p:spPr>
          <a:xfrm>
            <a:off x="3087262" y="6171517"/>
            <a:ext cx="1505159" cy="463954"/>
          </a:xfrm>
          <a:prstGeom prst="rect">
            <a:avLst/>
          </a:prstGeom>
        </p:spPr>
        <p:txBody>
          <a:bodyPr lIns="0" tIns="0" rIns="0" bIns="0">
            <a:noAutofit/>
          </a:bodyPr>
          <a:lstStyle>
            <a:lvl1pPr marL="0" marR="0" indent="0" algn="l" defTabSz="914225" rtl="0" eaLnBrk="1" fontAlgn="auto" latinLnBrk="0" hangingPunct="1">
              <a:lnSpc>
                <a:spcPct val="90000"/>
              </a:lnSpc>
              <a:spcBef>
                <a:spcPts val="0"/>
              </a:spcBef>
              <a:spcAft>
                <a:spcPts val="0"/>
              </a:spcAft>
              <a:buClrTx/>
              <a:buSzTx/>
              <a:buFont typeface="Arial" panose="020B0604020202020204" pitchFamily="34" charset="0"/>
              <a:buNone/>
              <a:tabLst/>
              <a:defRPr sz="1000" b="0">
                <a:solidFill>
                  <a:schemeClr val="bg1">
                    <a:lumMod val="50000"/>
                  </a:schemeClr>
                </a:solidFill>
              </a:defRPr>
            </a:lvl1pPr>
            <a:lvl2pPr marL="457112" indent="0">
              <a:buNone/>
              <a:defRPr sz="800"/>
            </a:lvl2pPr>
            <a:lvl3pPr marL="914225" indent="0">
              <a:buNone/>
              <a:defRPr sz="800"/>
            </a:lvl3pPr>
            <a:lvl4pPr marL="1371337" indent="0">
              <a:buNone/>
              <a:defRPr sz="800"/>
            </a:lvl4pPr>
            <a:lvl5pPr marL="1828449" indent="0">
              <a:buNone/>
              <a:defRPr sz="800"/>
            </a:lvl5pPr>
          </a:lstStyle>
          <a:p>
            <a:pPr lvl="0"/>
            <a:r>
              <a:rPr lang="en-US"/>
              <a:t>Click to edit Master text styles</a:t>
            </a:r>
          </a:p>
        </p:txBody>
      </p:sp>
      <p:sp>
        <p:nvSpPr>
          <p:cNvPr id="60" name="TextBox 59"/>
          <p:cNvSpPr txBox="1"/>
          <p:nvPr userDrawn="1"/>
        </p:nvSpPr>
        <p:spPr>
          <a:xfrm>
            <a:off x="3197994" y="5916409"/>
            <a:ext cx="1487548" cy="153888"/>
          </a:xfrm>
          <a:prstGeom prst="rect">
            <a:avLst/>
          </a:prstGeom>
          <a:noFill/>
        </p:spPr>
        <p:txBody>
          <a:bodyPr wrap="square" lIns="0" tIns="0" rIns="0" bIns="0" rtlCol="0">
            <a:spAutoFit/>
          </a:bodyPr>
          <a:lstStyle/>
          <a:p>
            <a:pPr marL="0" marR="0" indent="0" algn="l" defTabSz="914225"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Products and Services</a:t>
            </a:r>
          </a:p>
        </p:txBody>
      </p:sp>
      <p:sp>
        <p:nvSpPr>
          <p:cNvPr id="61" name="TextBox 60"/>
          <p:cNvSpPr txBox="1"/>
          <p:nvPr userDrawn="1"/>
        </p:nvSpPr>
        <p:spPr>
          <a:xfrm>
            <a:off x="5294551" y="5912045"/>
            <a:ext cx="1247049" cy="153888"/>
          </a:xfrm>
          <a:prstGeom prst="rect">
            <a:avLst/>
          </a:prstGeom>
          <a:noFill/>
        </p:spPr>
        <p:txBody>
          <a:bodyPr wrap="square" lIns="0" tIns="0" rIns="0" bIns="0" rtlCol="0">
            <a:spAutoFit/>
          </a:bodyPr>
          <a:lstStyle/>
          <a:p>
            <a:pPr marL="0" marR="0" indent="0" algn="l" defTabSz="914225"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Organization Size</a:t>
            </a:r>
          </a:p>
        </p:txBody>
      </p:sp>
      <p:sp>
        <p:nvSpPr>
          <p:cNvPr id="62" name="TextBox 61"/>
          <p:cNvSpPr txBox="1"/>
          <p:nvPr userDrawn="1"/>
        </p:nvSpPr>
        <p:spPr>
          <a:xfrm>
            <a:off x="7464535" y="5915827"/>
            <a:ext cx="988642" cy="153888"/>
          </a:xfrm>
          <a:prstGeom prst="rect">
            <a:avLst/>
          </a:prstGeom>
          <a:noFill/>
        </p:spPr>
        <p:txBody>
          <a:bodyPr wrap="square" lIns="0" tIns="0" rIns="0" bIns="0" rtlCol="0">
            <a:spAutoFit/>
          </a:bodyPr>
          <a:lstStyle/>
          <a:p>
            <a:pPr marL="0" marR="0" indent="0" algn="l" defTabSz="914225"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Industry</a:t>
            </a:r>
          </a:p>
        </p:txBody>
      </p:sp>
      <p:sp>
        <p:nvSpPr>
          <p:cNvPr id="63" name="TextBox 62"/>
          <p:cNvSpPr txBox="1"/>
          <p:nvPr userDrawn="1"/>
        </p:nvSpPr>
        <p:spPr>
          <a:xfrm>
            <a:off x="8994069" y="5930900"/>
            <a:ext cx="988642" cy="153888"/>
          </a:xfrm>
          <a:prstGeom prst="rect">
            <a:avLst/>
          </a:prstGeom>
          <a:noFill/>
        </p:spPr>
        <p:txBody>
          <a:bodyPr wrap="square" lIns="0" tIns="0" rIns="0" bIns="0" rtlCol="0">
            <a:spAutoFit/>
          </a:bodyPr>
          <a:lstStyle/>
          <a:p>
            <a:pPr marL="0" marR="0" indent="0" algn="l" defTabSz="914225" rtl="0" eaLnBrk="1" fontAlgn="auto" latinLnBrk="0" hangingPunct="1">
              <a:lnSpc>
                <a:spcPct val="100000"/>
              </a:lnSpc>
              <a:spcBef>
                <a:spcPts val="0"/>
              </a:spcBef>
              <a:spcAft>
                <a:spcPts val="0"/>
              </a:spcAft>
              <a:buClrTx/>
              <a:buSzTx/>
              <a:buFontTx/>
              <a:buNone/>
              <a:tabLst/>
              <a:defRPr/>
            </a:pPr>
            <a:r>
              <a:rPr lang="en-US" sz="1000" b="1" dirty="0">
                <a:solidFill>
                  <a:schemeClr val="bg1">
                    <a:lumMod val="50000"/>
                  </a:schemeClr>
                </a:solidFill>
              </a:rPr>
              <a:t>Country</a:t>
            </a:r>
          </a:p>
        </p:txBody>
      </p:sp>
    </p:spTree>
    <p:extLst>
      <p:ext uri="{BB962C8B-B14F-4D97-AF65-F5344CB8AC3E}">
        <p14:creationId xmlns:p14="http://schemas.microsoft.com/office/powerpoint/2010/main" val="1561347209"/>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userDrawn="1">
  <p:cSld name="2_Title &amp; 2-color Non-bulleted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C785812-DBB3-49A5-B9A5-226A70E5849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33788762"/>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cSld name="Title Only - gray, left">
    <p:spTree>
      <p:nvGrpSpPr>
        <p:cNvPr id="1" name=""/>
        <p:cNvGrpSpPr/>
        <p:nvPr/>
      </p:nvGrpSpPr>
      <p:grpSpPr>
        <a:xfrm>
          <a:off x="0" y="0"/>
          <a:ext cx="0" cy="0"/>
          <a:chOff x="0" y="0"/>
          <a:chExt cx="0" cy="0"/>
        </a:xfrm>
      </p:grpSpPr>
      <p:sp>
        <p:nvSpPr>
          <p:cNvPr id="2" name="Title 1"/>
          <p:cNvSpPr>
            <a:spLocks noGrp="1"/>
          </p:cNvSpPr>
          <p:nvPr>
            <p:ph type="title"/>
          </p:nvPr>
        </p:nvSpPr>
        <p:spPr>
          <a:xfrm>
            <a:off x="588263" y="457199"/>
            <a:ext cx="11018520" cy="615609"/>
          </a:xfrm>
        </p:spPr>
        <p:txBody>
          <a:bodyPr/>
          <a:lstStyle>
            <a:lvl1pPr>
              <a:defRPr sz="4000" spc="0">
                <a:solidFill>
                  <a:schemeClr val="tx1"/>
                </a:solidFill>
              </a:defRPr>
            </a:lvl1pPr>
          </a:lstStyle>
          <a:p>
            <a:r>
              <a:rPr lang="en-US"/>
              <a:t>Click to edit Master title style</a:t>
            </a:r>
          </a:p>
        </p:txBody>
      </p:sp>
    </p:spTree>
    <p:extLst>
      <p:ext uri="{BB962C8B-B14F-4D97-AF65-F5344CB8AC3E}">
        <p14:creationId xmlns:p14="http://schemas.microsoft.com/office/powerpoint/2010/main" val="65377158"/>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5" y="4309991"/>
            <a:ext cx="12188887" cy="2551127"/>
          </a:xfrm>
          <a:prstGeom prst="rect">
            <a:avLst/>
          </a:prstGeom>
          <a:solidFill>
            <a:srgbClr val="4DA0E2"/>
          </a:solidFill>
          <a:ln>
            <a:noFill/>
          </a:ln>
        </p:spPr>
        <p:txBody>
          <a:bodyPr vert="horz" wrap="square" lIns="89618" tIns="44808" rIns="89618" bIns="44808" numCol="1" anchor="t" anchorCtr="0" compatLnSpc="1">
            <a:prstTxWarp prst="textNoShape">
              <a:avLst/>
            </a:prstTxWarp>
          </a:bodyPr>
          <a:lstStyle/>
          <a:p>
            <a:endParaRPr lang="en-US" sz="1765"/>
          </a:p>
        </p:txBody>
      </p:sp>
      <p:sp>
        <p:nvSpPr>
          <p:cNvPr id="10" name="Rectangle 7"/>
          <p:cNvSpPr>
            <a:spLocks noChangeArrowheads="1"/>
          </p:cNvSpPr>
          <p:nvPr userDrawn="1"/>
        </p:nvSpPr>
        <p:spPr bwMode="auto">
          <a:xfrm>
            <a:off x="3" y="5729530"/>
            <a:ext cx="12188888" cy="1131586"/>
          </a:xfrm>
          <a:prstGeom prst="rect">
            <a:avLst/>
          </a:prstGeom>
          <a:solidFill>
            <a:srgbClr val="00188F"/>
          </a:solidFill>
          <a:ln>
            <a:noFill/>
          </a:ln>
          <a:extLst/>
        </p:spPr>
        <p:txBody>
          <a:bodyPr vert="horz" wrap="square" lIns="89618" tIns="44808" rIns="89618" bIns="44808" numCol="1" anchor="t" anchorCtr="0" compatLnSpc="1">
            <a:prstTxWarp prst="textNoShape">
              <a:avLst/>
            </a:prstTxWarp>
          </a:bodyPr>
          <a:lstStyle/>
          <a:p>
            <a:endParaRPr lang="en-US" sz="1765"/>
          </a:p>
        </p:txBody>
      </p:sp>
      <p:sp>
        <p:nvSpPr>
          <p:cNvPr id="11" name="Rectangle 8"/>
          <p:cNvSpPr>
            <a:spLocks noChangeArrowheads="1"/>
          </p:cNvSpPr>
          <p:nvPr userDrawn="1"/>
        </p:nvSpPr>
        <p:spPr bwMode="auto">
          <a:xfrm>
            <a:off x="3115" y="3343395"/>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1765"/>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7" tIns="143389" rIns="179237" bIns="143389" numCol="1" spcCol="0" rtlCol="0" fromWordArt="0" anchor="t" anchorCtr="0" forceAA="0" compatLnSpc="1">
            <a:prstTxWarp prst="textNoShape">
              <a:avLst/>
            </a:prstTxWarp>
            <a:noAutofit/>
          </a:bodyPr>
          <a:lstStyle/>
          <a:p>
            <a:pPr algn="ctr" defTabSz="913836"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481915"/>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80485"/>
            <a:ext cx="9860610" cy="1801436"/>
          </a:xfrm>
          <a:noFill/>
        </p:spPr>
        <p:txBody>
          <a:bodyPr lIns="146304" tIns="91440" rIns="146304" bIns="91440" anchor="t" anchorCtr="0"/>
          <a:lstStyle>
            <a:lvl1pPr>
              <a:defRPr sz="5880"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5" y="4309991"/>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1765"/>
          </a:p>
        </p:txBody>
      </p:sp>
      <p:sp>
        <p:nvSpPr>
          <p:cNvPr id="14"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315007" y="288563"/>
            <a:ext cx="3585699" cy="452654"/>
          </a:xfrm>
        </p:spPr>
        <p:txBody>
          <a:bodyPr/>
          <a:lstStyle>
            <a:lvl1pPr marL="0" indent="0" algn="r">
              <a:buNone/>
              <a:defRPr sz="1961">
                <a:latin typeface="+mn-lt"/>
              </a:defRPr>
            </a:lvl1pPr>
            <a:lvl2pPr marL="336047" indent="0">
              <a:buNone/>
              <a:defRPr sz="1961"/>
            </a:lvl2pPr>
            <a:lvl3pPr marL="560078" indent="0">
              <a:buNone/>
              <a:defRPr sz="1961"/>
            </a:lvl3pPr>
            <a:lvl4pPr marL="784109" indent="0">
              <a:buNone/>
              <a:defRPr sz="1961"/>
            </a:lvl4pPr>
            <a:lvl5pPr marL="1008141"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269303" y="5908816"/>
            <a:ext cx="3585699" cy="452654"/>
          </a:xfrm>
        </p:spPr>
        <p:txBody>
          <a:bodyPr/>
          <a:lstStyle>
            <a:lvl1pPr marL="0" indent="0" algn="l">
              <a:buNone/>
              <a:defRPr sz="1961">
                <a:latin typeface="+mn-lt"/>
              </a:defRPr>
            </a:lvl1pPr>
            <a:lvl2pPr marL="336047" indent="0">
              <a:buNone/>
              <a:defRPr sz="1961"/>
            </a:lvl2pPr>
            <a:lvl3pPr marL="560078" indent="0">
              <a:buNone/>
              <a:defRPr sz="1961"/>
            </a:lvl3pPr>
            <a:lvl4pPr marL="784109" indent="0">
              <a:buNone/>
              <a:defRPr sz="1961"/>
            </a:lvl4pPr>
            <a:lvl5pPr marL="1008141" indent="0">
              <a:buNone/>
              <a:defRPr sz="1961"/>
            </a:lvl5pPr>
          </a:lstStyle>
          <a:p>
            <a:pPr lvl="0"/>
            <a:r>
              <a:rPr lang="en-US" dirty="0"/>
              <a:t>Yammer hashtag</a:t>
            </a:r>
          </a:p>
        </p:txBody>
      </p:sp>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629695492"/>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32" indent="0">
              <a:buNone/>
              <a:defRPr/>
            </a:lvl3pPr>
            <a:lvl4pPr marL="448062" indent="0">
              <a:buNone/>
              <a:defRPr/>
            </a:lvl4pPr>
            <a:lvl5pPr marL="67209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7127837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32" indent="0">
              <a:buNone/>
              <a:defRPr/>
            </a:lvl3pPr>
            <a:lvl4pPr marL="448062" indent="0">
              <a:buNone/>
              <a:defRPr/>
            </a:lvl4pPr>
            <a:lvl5pPr marL="67209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195692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980681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Event Title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21569"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8785274" cy="6858000"/>
          </a:xfrm>
          <a:prstGeom prst="rect">
            <a:avLst/>
          </a:prstGeom>
          <a:gradFill flip="none" rotWithShape="1">
            <a:gsLst>
              <a:gs pos="44000">
                <a:srgbClr val="000000">
                  <a:alpha val="48000"/>
                </a:srgbClr>
              </a:gs>
              <a:gs pos="0">
                <a:srgbClr val="000000">
                  <a:alpha val="7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1627" y="4518926"/>
            <a:ext cx="6260678" cy="1019980"/>
          </a:xfrm>
        </p:spPr>
        <p:txBody>
          <a:bodyPr anchor="t"/>
          <a:lstStyle>
            <a:lvl1pPr marL="0" indent="0">
              <a:buNone/>
              <a:defRPr sz="2353">
                <a:solidFill>
                  <a:schemeClr val="bg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27332" y="2084171"/>
            <a:ext cx="6275850" cy="2120726"/>
          </a:xfrm>
        </p:spPr>
        <p:txBody>
          <a:bodyPr anchor="b"/>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6" name="Picture 5">
            <a:extLst>
              <a:ext uri="{FF2B5EF4-FFF2-40B4-BE49-F238E27FC236}">
                <a16:creationId xmlns:a16="http://schemas.microsoft.com/office/drawing/2014/main" id="{00DFD317-5BA3-438A-B299-DBB19373E36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Tree>
    <p:extLst>
      <p:ext uri="{BB962C8B-B14F-4D97-AF65-F5344CB8AC3E}">
        <p14:creationId xmlns:p14="http://schemas.microsoft.com/office/powerpoint/2010/main" val="3182062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579011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42" indent="0">
              <a:buNone/>
              <a:tabLst/>
              <a:defRPr sz="1961"/>
            </a:lvl3pPr>
            <a:lvl4pPr marL="451174" indent="0">
              <a:buNone/>
              <a:defRPr/>
            </a:lvl4pPr>
            <a:lvl5pPr marL="672094"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42" indent="0">
              <a:buNone/>
              <a:tabLst/>
              <a:defRPr sz="1961"/>
            </a:lvl3pPr>
            <a:lvl4pPr marL="451174" indent="0">
              <a:buNone/>
              <a:defRPr/>
            </a:lvl4pPr>
            <a:lvl5pPr marL="672094"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659635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42" indent="0">
              <a:buNone/>
              <a:tabLst/>
              <a:defRPr sz="1961"/>
            </a:lvl3pPr>
            <a:lvl4pPr marL="451174" indent="0">
              <a:buNone/>
              <a:defRPr/>
            </a:lvl4pPr>
            <a:lvl5pPr marL="672094"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42" indent="0">
              <a:buNone/>
              <a:tabLst/>
              <a:defRPr sz="1961"/>
            </a:lvl3pPr>
            <a:lvl4pPr marL="451174" indent="0">
              <a:buNone/>
              <a:defRPr/>
            </a:lvl4pPr>
            <a:lvl5pPr marL="672094"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891590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7"/>
            <a:ext cx="5378548" cy="1946751"/>
          </a:xfrm>
        </p:spPr>
        <p:txBody>
          <a:bodyPr wrap="square">
            <a:spAutoFit/>
          </a:bodyPr>
          <a:lstStyle>
            <a:lvl1pPr marL="281594" indent="-281594">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550" indent="-228534">
              <a:defRPr sz="2353"/>
            </a:lvl2pPr>
            <a:lvl3pPr marL="685602" indent="-165053">
              <a:tabLst/>
              <a:defRPr sz="1961"/>
            </a:lvl3pPr>
            <a:lvl4pPr marL="863351" indent="-177749">
              <a:defRPr/>
            </a:lvl4pPr>
            <a:lvl5pPr marL="1028403" indent="-165053">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7"/>
            <a:ext cx="5378548" cy="1946751"/>
          </a:xfrm>
        </p:spPr>
        <p:txBody>
          <a:bodyPr wrap="square">
            <a:spAutoFit/>
          </a:bodyPr>
          <a:lstStyle>
            <a:lvl1pPr marL="281594" indent="-281594">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550" indent="-228534">
              <a:defRPr sz="2353"/>
            </a:lvl2pPr>
            <a:lvl3pPr marL="685602" indent="-165053">
              <a:tabLst/>
              <a:defRPr sz="1961"/>
            </a:lvl3pPr>
            <a:lvl4pPr marL="863351" indent="-177749">
              <a:defRPr/>
            </a:lvl4pPr>
            <a:lvl5pPr marL="1028403" indent="-165053">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437109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7"/>
            <a:ext cx="5378548" cy="1946751"/>
          </a:xfrm>
        </p:spPr>
        <p:txBody>
          <a:bodyPr wrap="square">
            <a:spAutoFit/>
          </a:bodyPr>
          <a:lstStyle>
            <a:lvl1pPr marL="281594" indent="-281594">
              <a:spcBef>
                <a:spcPts val="1200"/>
              </a:spcBef>
              <a:buClr>
                <a:schemeClr val="tx1"/>
              </a:buClr>
              <a:buFont typeface="Arial" pitchFamily="34" charset="0"/>
              <a:buChar char="•"/>
              <a:defRPr sz="3136"/>
            </a:lvl1pPr>
            <a:lvl2pPr marL="520550" indent="-228534">
              <a:defRPr sz="2353"/>
            </a:lvl2pPr>
            <a:lvl3pPr marL="685602" indent="-165053">
              <a:tabLst/>
              <a:defRPr sz="1961"/>
            </a:lvl3pPr>
            <a:lvl4pPr marL="863351" indent="-177749">
              <a:defRPr/>
            </a:lvl4pPr>
            <a:lvl5pPr marL="1028403" indent="-165053">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7"/>
            <a:ext cx="5378548" cy="1946751"/>
          </a:xfrm>
        </p:spPr>
        <p:txBody>
          <a:bodyPr wrap="square">
            <a:spAutoFit/>
          </a:bodyPr>
          <a:lstStyle>
            <a:lvl1pPr marL="281594" indent="-281594">
              <a:spcBef>
                <a:spcPts val="1200"/>
              </a:spcBef>
              <a:buClr>
                <a:schemeClr val="tx1"/>
              </a:buClr>
              <a:buFont typeface="Arial" pitchFamily="34" charset="0"/>
              <a:buChar char="•"/>
              <a:defRPr sz="3136"/>
            </a:lvl1pPr>
            <a:lvl2pPr marL="520550" indent="-228534">
              <a:defRPr sz="2353"/>
            </a:lvl2pPr>
            <a:lvl3pPr marL="685602" indent="-165053">
              <a:tabLst/>
              <a:defRPr sz="1961"/>
            </a:lvl3pPr>
            <a:lvl4pPr marL="863351" indent="-177749">
              <a:defRPr/>
            </a:lvl4pPr>
            <a:lvl5pPr marL="1028403" indent="-165053">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487090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1527236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5066295" y="6567021"/>
            <a:ext cx="2059411"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a:t>
            </a:r>
          </a:p>
        </p:txBody>
      </p:sp>
    </p:spTree>
    <p:extLst>
      <p:ext uri="{BB962C8B-B14F-4D97-AF65-F5344CB8AC3E}">
        <p14:creationId xmlns:p14="http://schemas.microsoft.com/office/powerpoint/2010/main" val="6274244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userDrawn="1">
  <p:cSld name="3_Title Slide Photo_Optio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38" y="-1"/>
            <a:ext cx="15133212" cy="8514857"/>
          </a:xfrm>
          <a:prstGeom prst="rect">
            <a:avLst/>
          </a:prstGeom>
        </p:spPr>
      </p:pic>
      <p:sp>
        <p:nvSpPr>
          <p:cNvPr id="2" name="Rectangle 1"/>
          <p:cNvSpPr/>
          <p:nvPr userDrawn="1"/>
        </p:nvSpPr>
        <p:spPr bwMode="auto">
          <a:xfrm>
            <a:off x="266063" y="2084174"/>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2" tIns="143409" rIns="179262" bIns="143409" numCol="1" spcCol="0" rtlCol="0" fromWordArt="0" anchor="t" anchorCtr="0" forceAA="0" compatLnSpc="1">
            <a:prstTxWarp prst="textNoShape">
              <a:avLst/>
            </a:prstTxWarp>
            <a:noAutofit/>
          </a:bodyPr>
          <a:lstStyle/>
          <a:p>
            <a:pPr algn="ctr" defTabSz="914011"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3"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59"/>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3504" y="6043945"/>
            <a:ext cx="1653406" cy="356169"/>
          </a:xfrm>
          <a:prstGeom prst="rect">
            <a:avLst/>
          </a:prstGeom>
        </p:spPr>
      </p:pic>
    </p:spTree>
    <p:extLst>
      <p:ext uri="{BB962C8B-B14F-4D97-AF65-F5344CB8AC3E}">
        <p14:creationId xmlns:p14="http://schemas.microsoft.com/office/powerpoint/2010/main" val="3681906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5">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40" y="2546471"/>
            <a:ext cx="7171399" cy="506972"/>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Edit Master text styles</a:t>
            </a:r>
          </a:p>
        </p:txBody>
      </p:sp>
    </p:spTree>
    <p:extLst>
      <p:ext uri="{BB962C8B-B14F-4D97-AF65-F5344CB8AC3E}">
        <p14:creationId xmlns:p14="http://schemas.microsoft.com/office/powerpoint/2010/main" val="3633076903"/>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Event Title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7783"/>
            <a:ext cx="12196948"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1627" y="4518926"/>
            <a:ext cx="6260678" cy="1019980"/>
          </a:xfrm>
        </p:spPr>
        <p:txBody>
          <a:bodyPr anchor="t"/>
          <a:lstStyle>
            <a:lvl1pPr marL="0" indent="0">
              <a:buNone/>
              <a:defRPr sz="2353">
                <a:solidFill>
                  <a:schemeClr val="bg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27332" y="2084171"/>
            <a:ext cx="6275850" cy="2120726"/>
          </a:xfrm>
        </p:spPr>
        <p:txBody>
          <a:bodyPr anchor="b"/>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6" name="Picture 5">
            <a:extLst>
              <a:ext uri="{FF2B5EF4-FFF2-40B4-BE49-F238E27FC236}">
                <a16:creationId xmlns:a16="http://schemas.microsoft.com/office/drawing/2014/main" id="{00DFD317-5BA3-438A-B299-DBB19373E36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Tree>
    <p:extLst>
      <p:ext uri="{BB962C8B-B14F-4D97-AF65-F5344CB8AC3E}">
        <p14:creationId xmlns:p14="http://schemas.microsoft.com/office/powerpoint/2010/main" val="38219542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Event Title 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7783"/>
            <a:ext cx="12192000" cy="6858000"/>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1627" y="4518926"/>
            <a:ext cx="6260678" cy="1019980"/>
          </a:xfrm>
        </p:spPr>
        <p:txBody>
          <a:bodyPr anchor="t"/>
          <a:lstStyle>
            <a:lvl1pPr marL="0" indent="0">
              <a:buNone/>
              <a:defRPr sz="2353">
                <a:solidFill>
                  <a:schemeClr val="bg1"/>
                </a:solidFill>
              </a:defRPr>
            </a:lvl1pPr>
            <a:lvl5pPr>
              <a:defRPr/>
            </a:lvl5pPr>
          </a:lstStyle>
          <a:p>
            <a:pPr lvl="0"/>
            <a:r>
              <a:rPr lang="en-US" dirty="0"/>
              <a:t>Speaker Name</a:t>
            </a:r>
          </a:p>
          <a:p>
            <a:pPr lvl="0"/>
            <a:r>
              <a:rPr lang="en-US" dirty="0"/>
              <a:t>Date</a:t>
            </a:r>
          </a:p>
        </p:txBody>
      </p:sp>
      <p:sp>
        <p:nvSpPr>
          <p:cNvPr id="23" name="Text Placeholder 6"/>
          <p:cNvSpPr>
            <a:spLocks noGrp="1"/>
          </p:cNvSpPr>
          <p:nvPr>
            <p:ph type="body" sz="quarter" idx="13" hasCustomPrompt="1"/>
          </p:nvPr>
        </p:nvSpPr>
        <p:spPr>
          <a:xfrm>
            <a:off x="227332" y="2084171"/>
            <a:ext cx="6275850" cy="2120726"/>
          </a:xfrm>
        </p:spPr>
        <p:txBody>
          <a:bodyPr anchor="b"/>
          <a:lstStyle>
            <a:lvl1pPr marL="0" indent="0">
              <a:buNone/>
              <a:defRPr lang="en-US" sz="4312" kern="1200" spc="0" baseline="0" dirty="0">
                <a:solidFill>
                  <a:schemeClr val="bg1"/>
                </a:solidFill>
                <a:latin typeface="+mj-lt"/>
                <a:ea typeface="+mn-ea"/>
                <a:cs typeface="+mn-cs"/>
              </a:defRPr>
            </a:lvl1pPr>
            <a:lvl5pPr>
              <a:defRPr/>
            </a:lvl5pPr>
          </a:lstStyle>
          <a:p>
            <a:pPr marL="0" marR="0" lvl="0" indent="0" algn="l" defTabSz="914192" rtl="0" eaLnBrk="1" fontAlgn="auto" latinLnBrk="0" hangingPunct="1">
              <a:lnSpc>
                <a:spcPct val="95000"/>
              </a:lnSpc>
              <a:spcBef>
                <a:spcPts val="0"/>
              </a:spcBef>
              <a:spcAft>
                <a:spcPts val="1175"/>
              </a:spcAft>
              <a:buClrTx/>
              <a:buSzPct val="90000"/>
              <a:buFont typeface="Arial" pitchFamily="34" charset="0"/>
              <a:buNone/>
              <a:tabLst/>
            </a:pPr>
            <a:r>
              <a:rPr lang="en-US" dirty="0"/>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6" name="Picture 5">
            <a:extLst>
              <a:ext uri="{FF2B5EF4-FFF2-40B4-BE49-F238E27FC236}">
                <a16:creationId xmlns:a16="http://schemas.microsoft.com/office/drawing/2014/main" id="{00DFD317-5BA3-438A-B299-DBB19373E36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Tree>
    <p:extLst>
      <p:ext uri="{BB962C8B-B14F-4D97-AF65-F5344CB8AC3E}">
        <p14:creationId xmlns:p14="http://schemas.microsoft.com/office/powerpoint/2010/main" val="495866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fidentiality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20" name="Group 19">
            <a:extLst>
              <a:ext uri="{FF2B5EF4-FFF2-40B4-BE49-F238E27FC236}">
                <a16:creationId xmlns:a16="http://schemas.microsoft.com/office/drawing/2014/main" id="{78E81F66-18BE-4E57-938C-9EDF97006F22}"/>
              </a:ext>
            </a:extLst>
          </p:cNvPr>
          <p:cNvGrpSpPr/>
          <p:nvPr userDrawn="1"/>
        </p:nvGrpSpPr>
        <p:grpSpPr>
          <a:xfrm>
            <a:off x="1033391" y="2171649"/>
            <a:ext cx="1556303" cy="1354943"/>
            <a:chOff x="873078" y="2214881"/>
            <a:chExt cx="1587510" cy="1381916"/>
          </a:xfrm>
        </p:grpSpPr>
        <p:sp>
          <p:nvSpPr>
            <p:cNvPr id="6" name="camera"/>
            <p:cNvSpPr>
              <a:spLocks noChangeAspect="1" noEditPoints="1"/>
            </p:cNvSpPr>
            <p:nvPr userDrawn="1"/>
          </p:nvSpPr>
          <p:spPr bwMode="auto">
            <a:xfrm>
              <a:off x="873078" y="2214881"/>
              <a:ext cx="1248634" cy="997857"/>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dirty="0">
                <a:gradFill>
                  <a:gsLst>
                    <a:gs pos="0">
                      <a:srgbClr val="505050"/>
                    </a:gs>
                    <a:gs pos="100000">
                      <a:srgbClr val="505050"/>
                    </a:gs>
                  </a:gsLst>
                </a:gradFill>
              </a:endParaRPr>
            </a:p>
          </p:txBody>
        </p:sp>
        <p:sp>
          <p:nvSpPr>
            <p:cNvPr id="9" name="Multiplication Sign 8"/>
            <p:cNvSpPr/>
            <p:nvPr userDrawn="1"/>
          </p:nvSpPr>
          <p:spPr bwMode="auto">
            <a:xfrm>
              <a:off x="1782834" y="2919046"/>
              <a:ext cx="677754" cy="677751"/>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1" name="Group 20">
            <a:extLst>
              <a:ext uri="{FF2B5EF4-FFF2-40B4-BE49-F238E27FC236}">
                <a16:creationId xmlns:a16="http://schemas.microsoft.com/office/drawing/2014/main" id="{A42996B6-D0B4-45A1-9261-8AEA3C29AB4A}"/>
              </a:ext>
            </a:extLst>
          </p:cNvPr>
          <p:cNvGrpSpPr/>
          <p:nvPr userDrawn="1"/>
        </p:nvGrpSpPr>
        <p:grpSpPr>
          <a:xfrm>
            <a:off x="3683826" y="2118096"/>
            <a:ext cx="1005383" cy="1416285"/>
            <a:chOff x="3751290" y="2160262"/>
            <a:chExt cx="1025543" cy="1444480"/>
          </a:xfrm>
        </p:grpSpPr>
        <p:sp>
          <p:nvSpPr>
            <p:cNvPr id="4" name="phone"/>
            <p:cNvSpPr>
              <a:spLocks noChangeAspect="1" noEditPoints="1"/>
            </p:cNvSpPr>
            <p:nvPr userDrawn="1"/>
          </p:nvSpPr>
          <p:spPr bwMode="auto">
            <a:xfrm>
              <a:off x="3751290" y="2160262"/>
              <a:ext cx="701279" cy="1122985"/>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30" dirty="0">
                <a:gradFill>
                  <a:gsLst>
                    <a:gs pos="0">
                      <a:srgbClr val="505050"/>
                    </a:gs>
                    <a:gs pos="100000">
                      <a:srgbClr val="505050"/>
                    </a:gs>
                  </a:gsLst>
                </a:gradFill>
              </a:endParaRPr>
            </a:p>
          </p:txBody>
        </p:sp>
        <p:sp>
          <p:nvSpPr>
            <p:cNvPr id="10" name="Multiplication Sign 9"/>
            <p:cNvSpPr/>
            <p:nvPr userDrawn="1"/>
          </p:nvSpPr>
          <p:spPr bwMode="auto">
            <a:xfrm>
              <a:off x="4099079" y="2926991"/>
              <a:ext cx="677754" cy="677751"/>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3" name="Group 22">
            <a:extLst>
              <a:ext uri="{FF2B5EF4-FFF2-40B4-BE49-F238E27FC236}">
                <a16:creationId xmlns:a16="http://schemas.microsoft.com/office/drawing/2014/main" id="{967B9B47-9837-457E-871B-E5D78142EEE5}"/>
              </a:ext>
            </a:extLst>
          </p:cNvPr>
          <p:cNvGrpSpPr/>
          <p:nvPr userDrawn="1"/>
        </p:nvGrpSpPr>
        <p:grpSpPr>
          <a:xfrm>
            <a:off x="5783340" y="2078914"/>
            <a:ext cx="1948925" cy="1461168"/>
            <a:chOff x="6335962" y="2120300"/>
            <a:chExt cx="1988005" cy="1490256"/>
          </a:xfrm>
        </p:grpSpPr>
        <p:sp>
          <p:nvSpPr>
            <p:cNvPr id="5" name="tablet_2"/>
            <p:cNvSpPr>
              <a:spLocks noChangeAspect="1" noEditPoints="1"/>
            </p:cNvSpPr>
            <p:nvPr userDrawn="1"/>
          </p:nvSpPr>
          <p:spPr bwMode="auto">
            <a:xfrm>
              <a:off x="6335962" y="2120300"/>
              <a:ext cx="1658042" cy="1214531"/>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30" dirty="0">
                <a:gradFill>
                  <a:gsLst>
                    <a:gs pos="0">
                      <a:srgbClr val="505050"/>
                    </a:gs>
                    <a:gs pos="100000">
                      <a:srgbClr val="505050"/>
                    </a:gs>
                  </a:gsLst>
                </a:gradFill>
              </a:endParaRPr>
            </a:p>
          </p:txBody>
        </p:sp>
        <p:sp>
          <p:nvSpPr>
            <p:cNvPr id="11" name="Multiplication Sign 10"/>
            <p:cNvSpPr/>
            <p:nvPr userDrawn="1"/>
          </p:nvSpPr>
          <p:spPr bwMode="auto">
            <a:xfrm>
              <a:off x="7646213" y="2932805"/>
              <a:ext cx="677754" cy="677751"/>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2" name="Group 21">
            <a:extLst>
              <a:ext uri="{FF2B5EF4-FFF2-40B4-BE49-F238E27FC236}">
                <a16:creationId xmlns:a16="http://schemas.microsoft.com/office/drawing/2014/main" id="{2438E0D6-2E6D-4DE6-BEE3-12184AC40FA2}"/>
              </a:ext>
            </a:extLst>
          </p:cNvPr>
          <p:cNvGrpSpPr/>
          <p:nvPr userDrawn="1"/>
        </p:nvGrpSpPr>
        <p:grpSpPr>
          <a:xfrm>
            <a:off x="8826396" y="2047820"/>
            <a:ext cx="2332212" cy="1496785"/>
            <a:chOff x="9742220" y="2088587"/>
            <a:chExt cx="2378978" cy="1526582"/>
          </a:xfrm>
        </p:grpSpPr>
        <p:sp>
          <p:nvSpPr>
            <p:cNvPr id="3" name="laptop"/>
            <p:cNvSpPr>
              <a:spLocks noChangeAspect="1" noEditPoints="1"/>
            </p:cNvSpPr>
            <p:nvPr userDrawn="1"/>
          </p:nvSpPr>
          <p:spPr bwMode="auto">
            <a:xfrm>
              <a:off x="9742220" y="2088587"/>
              <a:ext cx="2101406" cy="1251030"/>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30" dirty="0">
                <a:gradFill>
                  <a:gsLst>
                    <a:gs pos="0">
                      <a:srgbClr val="505050"/>
                    </a:gs>
                    <a:gs pos="100000">
                      <a:srgbClr val="505050"/>
                    </a:gs>
                  </a:gsLst>
                </a:gradFill>
              </a:endParaRPr>
            </a:p>
          </p:txBody>
        </p:sp>
        <p:sp>
          <p:nvSpPr>
            <p:cNvPr id="13" name="Multiplication Sign 12"/>
            <p:cNvSpPr/>
            <p:nvPr userDrawn="1"/>
          </p:nvSpPr>
          <p:spPr bwMode="auto">
            <a:xfrm>
              <a:off x="11443445" y="2937417"/>
              <a:ext cx="677753" cy="677752"/>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130856" y="4253460"/>
            <a:ext cx="11930322" cy="1638607"/>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b="1" dirty="0">
                <a:gradFill>
                  <a:gsLst>
                    <a:gs pos="2917">
                      <a:schemeClr val="tx1"/>
                    </a:gs>
                    <a:gs pos="30000">
                      <a:schemeClr val="tx1"/>
                    </a:gs>
                  </a:gsLst>
                  <a:lin ang="5400000" scaled="0"/>
                </a:gradFill>
              </a:rPr>
              <a:t>Architect Boot Camp </a:t>
            </a:r>
            <a:r>
              <a:rPr lang="en-US" sz="2157" dirty="0">
                <a:gradFill>
                  <a:gsLst>
                    <a:gs pos="2917">
                      <a:schemeClr val="tx1"/>
                    </a:gs>
                    <a:gs pos="30000">
                      <a:schemeClr val="tx1"/>
                    </a:gs>
                  </a:gsLst>
                  <a:lin ang="5400000" scaled="0"/>
                </a:gradFill>
              </a:rPr>
              <a:t>content is Microsoft Confidential </a:t>
            </a:r>
          </a:p>
          <a:p>
            <a:pPr algn="ctr">
              <a:lnSpc>
                <a:spcPct val="90000"/>
              </a:lnSpc>
              <a:spcBef>
                <a:spcPts val="1176"/>
              </a:spcBef>
              <a:spcAft>
                <a:spcPts val="588"/>
              </a:spcAft>
            </a:pPr>
            <a:r>
              <a:rPr lang="en-US" sz="2157" dirty="0">
                <a:gradFill>
                  <a:gsLst>
                    <a:gs pos="2917">
                      <a:schemeClr val="tx1"/>
                    </a:gs>
                    <a:gs pos="30000">
                      <a:schemeClr val="tx1"/>
                    </a:gs>
                  </a:gsLst>
                  <a:lin ang="5400000" scaled="0"/>
                </a:gradFill>
              </a:rPr>
              <a:t>DO NOT post </a:t>
            </a:r>
            <a:r>
              <a:rPr lang="en-US" sz="2157" b="1" dirty="0">
                <a:gradFill>
                  <a:gsLst>
                    <a:gs pos="2917">
                      <a:schemeClr val="tx1"/>
                    </a:gs>
                    <a:gs pos="30000">
                      <a:schemeClr val="tx1"/>
                    </a:gs>
                  </a:gsLst>
                  <a:lin ang="5400000" scaled="0"/>
                </a:gradFill>
              </a:rPr>
              <a:t>Architect Boot Camp</a:t>
            </a:r>
            <a:r>
              <a:rPr lang="en-US" sz="2157" dirty="0">
                <a:gradFill>
                  <a:gsLst>
                    <a:gs pos="2917">
                      <a:schemeClr val="tx1"/>
                    </a:gs>
                    <a:gs pos="30000">
                      <a:schemeClr val="tx1"/>
                    </a:gs>
                  </a:gsLst>
                  <a:lin ang="5400000" scaled="0"/>
                </a:gradFill>
              </a:rPr>
              <a:t> content to any blogs or external websites</a:t>
            </a:r>
          </a:p>
          <a:p>
            <a:pPr algn="ctr">
              <a:lnSpc>
                <a:spcPct val="90000"/>
              </a:lnSpc>
              <a:spcBef>
                <a:spcPts val="1176"/>
              </a:spcBef>
              <a:spcAft>
                <a:spcPts val="588"/>
              </a:spcAft>
            </a:pPr>
            <a:r>
              <a:rPr lang="en-US" sz="2157" dirty="0">
                <a:gradFill>
                  <a:gsLst>
                    <a:gs pos="2917">
                      <a:schemeClr val="tx1"/>
                    </a:gs>
                    <a:gs pos="30000">
                      <a:schemeClr val="tx1"/>
                    </a:gs>
                  </a:gsLst>
                  <a:lin ang="5400000" scaled="0"/>
                </a:gradFill>
              </a:rPr>
              <a:t>DO NOT take photos or video of sessions or slides throughout the </a:t>
            </a:r>
            <a:r>
              <a:rPr lang="en-US" sz="2157" b="1" dirty="0">
                <a:gradFill>
                  <a:gsLst>
                    <a:gs pos="2917">
                      <a:schemeClr val="tx1"/>
                    </a:gs>
                    <a:gs pos="30000">
                      <a:schemeClr val="tx1"/>
                    </a:gs>
                  </a:gsLst>
                  <a:lin ang="5400000" scaled="0"/>
                </a:gradFill>
              </a:rPr>
              <a:t>Architect Boot Camp</a:t>
            </a:r>
            <a:r>
              <a:rPr lang="en-US" sz="2157" dirty="0">
                <a:gradFill>
                  <a:gsLst>
                    <a:gs pos="2917">
                      <a:schemeClr val="tx1"/>
                    </a:gs>
                    <a:gs pos="30000">
                      <a:schemeClr val="tx1"/>
                    </a:gs>
                  </a:gsLst>
                  <a:lin ang="5400000" scaled="0"/>
                </a:gradFill>
              </a:rPr>
              <a:t> event</a:t>
            </a:r>
          </a:p>
        </p:txBody>
      </p:sp>
    </p:spTree>
    <p:extLst>
      <p:ext uri="{BB962C8B-B14F-4D97-AF65-F5344CB8AC3E}">
        <p14:creationId xmlns:p14="http://schemas.microsoft.com/office/powerpoint/2010/main" val="3870239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264894" y="1189176"/>
            <a:ext cx="11653523" cy="2447348"/>
          </a:xfrm>
        </p:spPr>
        <p:txBody>
          <a:bodyPr/>
          <a:lstStyle>
            <a:lvl1pPr marL="0" indent="0">
              <a:lnSpc>
                <a:spcPct val="100000"/>
              </a:lnSpc>
              <a:buNone/>
              <a:defRPr>
                <a:solidFill>
                  <a:schemeClr val="tx1"/>
                </a:solidFill>
              </a:defRPr>
            </a:lvl1pPr>
            <a:lvl2pPr marL="0" indent="0">
              <a:lnSpc>
                <a:spcPct val="100000"/>
              </a:lnSpc>
              <a:buFontTx/>
              <a:buNone/>
              <a:defRPr sz="1568">
                <a:solidFill>
                  <a:schemeClr val="tx1"/>
                </a:solidFill>
              </a:defRPr>
            </a:lvl2pPr>
            <a:lvl3pPr marL="224054" indent="0">
              <a:lnSpc>
                <a:spcPct val="100000"/>
              </a:lnSpc>
              <a:buNone/>
              <a:defRPr sz="1568">
                <a:solidFill>
                  <a:schemeClr val="tx1"/>
                </a:solidFill>
              </a:defRPr>
            </a:lvl3pPr>
            <a:lvl4pPr marL="448107" indent="0">
              <a:lnSpc>
                <a:spcPct val="100000"/>
              </a:lnSpc>
              <a:buNone/>
              <a:defRPr sz="1568">
                <a:solidFill>
                  <a:schemeClr val="tx1"/>
                </a:solidFill>
              </a:defRPr>
            </a:lvl4pPr>
            <a:lvl5pPr marL="672161" indent="0">
              <a:lnSpc>
                <a:spcPct val="100000"/>
              </a:lnSpc>
              <a:buNone/>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404141557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495981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5983" y="1189175"/>
            <a:ext cx="5378548" cy="2160667"/>
          </a:xfrm>
        </p:spPr>
        <p:txBody>
          <a:bodyPr wrap="square">
            <a:spAutoFit/>
          </a:bodyPr>
          <a:lstStyle>
            <a:lvl1pPr marL="0" indent="0">
              <a:spcBef>
                <a:spcPts val="1200"/>
              </a:spcBef>
              <a:buClr>
                <a:schemeClr val="tx1"/>
              </a:buClr>
              <a:buFont typeface="Wingdings" pitchFamily="2" charset="2"/>
              <a:buNone/>
              <a:defRPr sz="2745">
                <a:solidFill>
                  <a:schemeClr val="accent2"/>
                </a:solidFill>
              </a:defRPr>
            </a:lvl1pPr>
            <a:lvl2pPr marL="0" indent="0">
              <a:buNone/>
              <a:defRPr sz="1568">
                <a:solidFill>
                  <a:schemeClr val="tx1"/>
                </a:solidFill>
              </a:defRPr>
            </a:lvl2pPr>
            <a:lvl3pPr marL="227165" indent="0">
              <a:buNone/>
              <a:tabLst/>
              <a:defRPr sz="1568">
                <a:solidFill>
                  <a:schemeClr val="tx1"/>
                </a:solidFill>
              </a:defRPr>
            </a:lvl3pPr>
            <a:lvl4pPr marL="451219" indent="0">
              <a:buNone/>
              <a:defRPr sz="1568">
                <a:solidFill>
                  <a:schemeClr val="tx1"/>
                </a:solidFill>
              </a:defRPr>
            </a:lvl4pPr>
            <a:lvl5pPr marL="672161" indent="0">
              <a:buNone/>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2160667"/>
          </a:xfrm>
        </p:spPr>
        <p:txBody>
          <a:bodyPr wrap="square">
            <a:spAutoFit/>
          </a:bodyPr>
          <a:lstStyle>
            <a:lvl1pPr marL="0" indent="0">
              <a:spcBef>
                <a:spcPts val="1200"/>
              </a:spcBef>
              <a:buClr>
                <a:schemeClr val="tx1"/>
              </a:buClr>
              <a:buFont typeface="Wingdings" pitchFamily="2" charset="2"/>
              <a:buNone/>
              <a:defRPr sz="2745">
                <a:solidFill>
                  <a:schemeClr val="accent2"/>
                </a:solidFill>
              </a:defRPr>
            </a:lvl1pPr>
            <a:lvl2pPr marL="0" indent="0">
              <a:buNone/>
              <a:defRPr sz="1568">
                <a:solidFill>
                  <a:schemeClr val="tx1"/>
                </a:solidFill>
              </a:defRPr>
            </a:lvl2pPr>
            <a:lvl3pPr marL="227165" indent="0">
              <a:buNone/>
              <a:tabLst/>
              <a:defRPr sz="1568">
                <a:solidFill>
                  <a:schemeClr val="tx1"/>
                </a:solidFill>
              </a:defRPr>
            </a:lvl3pPr>
            <a:lvl4pPr marL="451219" indent="0">
              <a:buNone/>
              <a:defRPr sz="1568">
                <a:solidFill>
                  <a:schemeClr val="tx1"/>
                </a:solidFill>
              </a:defRPr>
            </a:lvl4pPr>
            <a:lvl5pPr marL="672161" indent="0">
              <a:buNone/>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318197462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9242" y="1216074"/>
            <a:ext cx="5378548" cy="2103331"/>
          </a:xfrm>
        </p:spPr>
        <p:txBody>
          <a:bodyPr wrap="square">
            <a:spAutoFit/>
          </a:bodyPr>
          <a:lstStyle>
            <a:lvl1pPr marL="281623" indent="-281623">
              <a:spcBef>
                <a:spcPts val="1200"/>
              </a:spcBef>
              <a:buClr>
                <a:schemeClr val="tx2"/>
              </a:buClr>
              <a:buFont typeface="Arial" pitchFamily="34" charset="0"/>
              <a:buChar char="•"/>
              <a:defRPr sz="2745">
                <a:solidFill>
                  <a:schemeClr val="tx1"/>
                </a:solidFill>
              </a:defRPr>
            </a:lvl1pPr>
            <a:lvl2pPr marL="520602" indent="-228557">
              <a:defRPr sz="1568">
                <a:solidFill>
                  <a:schemeClr val="tx1"/>
                </a:solidFill>
              </a:defRPr>
            </a:lvl2pPr>
            <a:lvl3pPr marL="685671" indent="-165070">
              <a:tabLst/>
              <a:defRPr sz="1568">
                <a:solidFill>
                  <a:schemeClr val="tx1"/>
                </a:solidFill>
              </a:defRPr>
            </a:lvl3pPr>
            <a:lvl4pPr marL="863437" indent="-177767">
              <a:defRPr sz="1568">
                <a:solidFill>
                  <a:schemeClr val="tx1"/>
                </a:solidFill>
              </a:defRPr>
            </a:lvl4pPr>
            <a:lvl5pPr marL="1028506" indent="-165070">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216074"/>
            <a:ext cx="5378548" cy="2103331"/>
          </a:xfrm>
        </p:spPr>
        <p:txBody>
          <a:bodyPr wrap="square">
            <a:spAutoFit/>
          </a:bodyPr>
          <a:lstStyle>
            <a:lvl1pPr marL="281623" indent="-281623">
              <a:spcBef>
                <a:spcPts val="1200"/>
              </a:spcBef>
              <a:buClr>
                <a:schemeClr val="tx2"/>
              </a:buClr>
              <a:buFont typeface="Arial" pitchFamily="34" charset="0"/>
              <a:buChar char="•"/>
              <a:defRPr sz="2745">
                <a:solidFill>
                  <a:schemeClr val="tx1"/>
                </a:solidFill>
              </a:defRPr>
            </a:lvl1pPr>
            <a:lvl2pPr marL="520602" indent="-228557">
              <a:defRPr sz="1568">
                <a:solidFill>
                  <a:schemeClr val="tx1"/>
                </a:solidFill>
              </a:defRPr>
            </a:lvl2pPr>
            <a:lvl3pPr marL="685671" indent="-165070">
              <a:tabLst/>
              <a:defRPr sz="1568">
                <a:solidFill>
                  <a:schemeClr val="tx1"/>
                </a:solidFill>
              </a:defRPr>
            </a:lvl3pPr>
            <a:lvl4pPr marL="863437" indent="-177767">
              <a:defRPr sz="1568">
                <a:solidFill>
                  <a:schemeClr val="tx1"/>
                </a:solidFill>
              </a:defRPr>
            </a:lvl4pPr>
            <a:lvl5pPr marL="1028506" indent="-165070">
              <a:tabLst/>
              <a:defRPr sz="156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3862734887"/>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620935092"/>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4002128"/>
            <a:ext cx="7171398" cy="995838"/>
          </a:xfrm>
          <a:noFill/>
        </p:spPr>
        <p:txBody>
          <a:bodyPr wrap="square" tIns="91440" bIns="91440" anchor="b" anchorCtr="0">
            <a:spAutoFit/>
          </a:bodyPr>
          <a:lstStyle>
            <a:lvl1pPr>
              <a:defRPr sz="5882" spc="-98" baseline="0">
                <a:solidFill>
                  <a:schemeClr val="tx1"/>
                </a:solidFill>
              </a:defRPr>
            </a:lvl1pPr>
          </a:lstStyle>
          <a:p>
            <a:r>
              <a:rPr lang="en-US" dirty="0"/>
              <a:t>Section title</a:t>
            </a:r>
          </a:p>
        </p:txBody>
      </p:sp>
    </p:spTree>
    <p:extLst>
      <p:ext uri="{BB962C8B-B14F-4D97-AF65-F5344CB8AC3E}">
        <p14:creationId xmlns:p14="http://schemas.microsoft.com/office/powerpoint/2010/main" val="8168374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userDrawn="1">
            <p:ph type="title" hasCustomPrompt="1"/>
          </p:nvPr>
        </p:nvSpPr>
        <p:spPr>
          <a:xfrm>
            <a:off x="269239" y="4002128"/>
            <a:ext cx="7171399" cy="995838"/>
          </a:xfrm>
          <a:noFill/>
        </p:spPr>
        <p:txBody>
          <a:bodyPr wrap="square" tIns="91440" bIns="91440" anchor="b" anchorCtr="0">
            <a:spAutoFit/>
          </a:bodyPr>
          <a:lstStyle>
            <a:lvl1pPr>
              <a:defRPr sz="5882" spc="-98" baseline="0">
                <a:solidFill>
                  <a:schemeClr val="tx1"/>
                </a:solidFill>
              </a:defRPr>
            </a:lvl1pPr>
          </a:lstStyle>
          <a:p>
            <a:r>
              <a:rPr lang="en-US" dirty="0"/>
              <a:t>Section title</a:t>
            </a:r>
          </a:p>
        </p:txBody>
      </p:sp>
    </p:spTree>
    <p:extLst>
      <p:ext uri="{BB962C8B-B14F-4D97-AF65-F5344CB8AC3E}">
        <p14:creationId xmlns:p14="http://schemas.microsoft.com/office/powerpoint/2010/main" val="24376795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userDrawn="1">
            <p:ph type="title" hasCustomPrompt="1"/>
          </p:nvPr>
        </p:nvSpPr>
        <p:spPr>
          <a:xfrm>
            <a:off x="269239" y="4002128"/>
            <a:ext cx="7171399" cy="995838"/>
          </a:xfrm>
          <a:noFill/>
        </p:spPr>
        <p:txBody>
          <a:bodyPr wrap="square" tIns="91440" bIns="91440" anchor="b" anchorCtr="0">
            <a:spAutoFit/>
          </a:bodyPr>
          <a:lstStyle>
            <a:lvl1pPr>
              <a:defRPr sz="5882" spc="-98" baseline="0">
                <a:solidFill>
                  <a:schemeClr val="tx1"/>
                </a:solidFill>
              </a:defRPr>
            </a:lvl1pPr>
          </a:lstStyle>
          <a:p>
            <a:r>
              <a:rPr lang="en-US" dirty="0"/>
              <a:t>Section title</a:t>
            </a:r>
          </a:p>
        </p:txBody>
      </p:sp>
    </p:spTree>
    <p:extLst>
      <p:ext uri="{BB962C8B-B14F-4D97-AF65-F5344CB8AC3E}">
        <p14:creationId xmlns:p14="http://schemas.microsoft.com/office/powerpoint/2010/main" val="5291956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66F71CB-3F00-464C-88C9-6BB0DB1E354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6" name="Rectangle 5">
            <a:extLst>
              <a:ext uri="{FF2B5EF4-FFF2-40B4-BE49-F238E27FC236}">
                <a16:creationId xmlns:a16="http://schemas.microsoft.com/office/drawing/2014/main" id="{D3B56245-1A36-453D-A080-8FFC608C5FB4}"/>
              </a:ext>
            </a:extLst>
          </p:cNvPr>
          <p:cNvSpPr/>
          <p:nvPr userDrawn="1"/>
        </p:nvSpPr>
        <p:spPr bwMode="auto">
          <a:xfrm>
            <a:off x="0" y="0"/>
            <a:ext cx="9606997" cy="6858000"/>
          </a:xfrm>
          <a:prstGeom prst="rect">
            <a:avLst/>
          </a:prstGeom>
          <a:gradFill>
            <a:gsLst>
              <a:gs pos="51000">
                <a:srgbClr val="FFFFFF">
                  <a:alpha val="60000"/>
                </a:srgbClr>
              </a:gs>
              <a:gs pos="0">
                <a:schemeClr val="tx1">
                  <a:alpha val="89000"/>
                </a:schemeClr>
              </a:gs>
              <a:gs pos="100000">
                <a:schemeClr val="tx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userDrawn="1">
            <p:ph type="title" hasCustomPrompt="1"/>
          </p:nvPr>
        </p:nvSpPr>
        <p:spPr>
          <a:xfrm>
            <a:off x="269239" y="4002128"/>
            <a:ext cx="7171399" cy="995838"/>
          </a:xfrm>
          <a:noFill/>
        </p:spPr>
        <p:txBody>
          <a:bodyPr wrap="square" tIns="91440" bIns="91440" anchor="b" anchorCtr="0">
            <a:spAutoFit/>
          </a:bodyPr>
          <a:lstStyle>
            <a:lvl1pPr>
              <a:defRPr sz="5882" spc="-98" baseline="0">
                <a:solidFill>
                  <a:schemeClr val="accent2"/>
                </a:solidFill>
              </a:defRPr>
            </a:lvl1pPr>
          </a:lstStyle>
          <a:p>
            <a:r>
              <a:rPr lang="en-US" dirty="0"/>
              <a:t>Section title</a:t>
            </a:r>
          </a:p>
        </p:txBody>
      </p:sp>
    </p:spTree>
    <p:extLst>
      <p:ext uri="{BB962C8B-B14F-4D97-AF65-F5344CB8AC3E}">
        <p14:creationId xmlns:p14="http://schemas.microsoft.com/office/powerpoint/2010/main" val="10847841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97858"/>
            <a:ext cx="5378548" cy="751405"/>
          </a:xfrm>
        </p:spPr>
        <p:txBody>
          <a:bodyPr>
            <a:spAutoFit/>
          </a:bodyPr>
          <a:lstStyle>
            <a:lvl1pPr>
              <a:defRPr sz="4117" baseline="0">
                <a:solidFill>
                  <a:schemeClr val="tx1"/>
                </a:solidFill>
              </a:defRPr>
            </a:lvl1pPr>
          </a:lstStyle>
          <a:p>
            <a:r>
              <a:rPr lang="en-US" dirty="0"/>
              <a:t>50/50 photo layout</a:t>
            </a:r>
          </a:p>
        </p:txBody>
      </p:sp>
      <p:sp>
        <p:nvSpPr>
          <p:cNvPr id="6" name="Picture Placeholder 5"/>
          <p:cNvSpPr>
            <a:spLocks noGrp="1"/>
          </p:cNvSpPr>
          <p:nvPr>
            <p:ph type="pic" sz="quarter" idx="11" hasCustomPrompt="1"/>
          </p:nvPr>
        </p:nvSpPr>
        <p:spPr>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anchor="ctr"/>
          <a:lstStyle>
            <a:lvl1pPr marL="0" marR="0" indent="0" algn="ctr" defTabSz="914192" rtl="0" eaLnBrk="1" fontAlgn="auto" latinLnBrk="0" hangingPunct="1">
              <a:lnSpc>
                <a:spcPct val="90000"/>
              </a:lnSpc>
              <a:spcBef>
                <a:spcPct val="20000"/>
              </a:spcBef>
              <a:spcAft>
                <a:spcPts val="0"/>
              </a:spcAft>
              <a:buClrTx/>
              <a:buSzPct val="90000"/>
              <a:buFont typeface="Arial" pitchFamily="34" charset="0"/>
              <a:buNone/>
              <a:tabLst/>
              <a:defRPr lang="en-US" sz="1567" b="1" kern="1200" cap="none" spc="0" baseline="0" dirty="0">
                <a:solidFill>
                  <a:schemeClr val="bg1"/>
                </a:solidFill>
                <a:effectLst>
                  <a:outerShdw blurRad="38100" dist="38100" dir="2700000" algn="tl">
                    <a:srgbClr val="000000">
                      <a:alpha val="43137"/>
                    </a:srgbClr>
                  </a:outerShdw>
                </a:effectLst>
                <a:latin typeface="+mn-lt"/>
                <a:ea typeface="+mn-ea"/>
                <a:cs typeface="+mn-cs"/>
              </a:defRPr>
            </a:lvl1pPr>
          </a:lstStyle>
          <a:p>
            <a:br>
              <a:rPr lang="en-US" dirty="0"/>
            </a:br>
            <a:br>
              <a:rPr lang="en-US" dirty="0"/>
            </a:br>
            <a:br>
              <a:rPr lang="en-US" dirty="0"/>
            </a:br>
            <a:r>
              <a:rPr lang="en-US" dirty="0"/>
              <a:t>Click icon to add picture</a:t>
            </a:r>
          </a:p>
        </p:txBody>
      </p:sp>
      <p:sp>
        <p:nvSpPr>
          <p:cNvPr id="10"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3452025153"/>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11214778"/>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Light Gray Blank">
    <p:bg>
      <p:bgPr>
        <a:solidFill>
          <a:schemeClr val="tx1">
            <a:lumMod val="9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86231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1337368"/>
      </p:ext>
    </p:extLst>
  </p:cSld>
  <p:clrMapOvr>
    <a:masterClrMapping/>
  </p:clrMapOvr>
  <p:transition>
    <p:fade/>
  </p:transition>
  <p:extLst mod="1">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ark Gray Blank">
    <p:bg>
      <p:bgPr>
        <a:solidFill>
          <a:schemeClr val="accent6"/>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965644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1"/>
                </a:solidFill>
              </a:defRPr>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97254" y="1197321"/>
            <a:ext cx="11653522" cy="2404346"/>
          </a:xfrm>
        </p:spPr>
        <p:txBody>
          <a:bodyPr/>
          <a:lstStyle>
            <a:lvl1pPr marL="0" indent="0">
              <a:buNone/>
              <a:defRPr sz="3234">
                <a:solidFill>
                  <a:schemeClr val="tx1"/>
                </a:solidFill>
                <a:latin typeface="Consolas" panose="020B0609020204030204" pitchFamily="49" charset="0"/>
                <a:cs typeface="Consolas" panose="020B0609020204030204" pitchFamily="49" charset="0"/>
              </a:defRPr>
            </a:lvl1pPr>
            <a:lvl2pPr marL="339661" indent="0">
              <a:buNone/>
              <a:defRPr>
                <a:solidFill>
                  <a:schemeClr val="tx1"/>
                </a:solidFill>
                <a:latin typeface="Consolas" panose="020B0609020204030204" pitchFamily="49" charset="0"/>
                <a:cs typeface="Consolas" panose="020B0609020204030204" pitchFamily="49" charset="0"/>
              </a:defRPr>
            </a:lvl2pPr>
            <a:lvl3pPr marL="572979" indent="0">
              <a:buNone/>
              <a:defRPr>
                <a:solidFill>
                  <a:schemeClr val="tx1"/>
                </a:solidFill>
                <a:latin typeface="Consolas" panose="020B0609020204030204" pitchFamily="49" charset="0"/>
                <a:cs typeface="Consolas" panose="020B0609020204030204" pitchFamily="49" charset="0"/>
              </a:defRPr>
            </a:lvl3pPr>
            <a:lvl4pPr marL="798362" indent="0">
              <a:buNone/>
              <a:defRPr>
                <a:solidFill>
                  <a:schemeClr val="tx1"/>
                </a:solidFill>
                <a:latin typeface="Consolas" panose="020B0609020204030204" pitchFamily="49" charset="0"/>
                <a:cs typeface="Consolas" panose="020B0609020204030204" pitchFamily="49" charset="0"/>
              </a:defRPr>
            </a:lvl4pPr>
            <a:lvl5pPr marL="1030094" indent="0">
              <a:buNone/>
              <a:defRPr>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06347687"/>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992C132-756C-4E79-BD44-1D1BA7BC1C2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14786" cy="6858000"/>
          </a:xfrm>
          <a:prstGeom prst="rect">
            <a:avLst/>
          </a:prstGeom>
        </p:spPr>
      </p:pic>
      <p:sp>
        <p:nvSpPr>
          <p:cNvPr id="8" name="Rectangle 7">
            <a:extLst>
              <a:ext uri="{FF2B5EF4-FFF2-40B4-BE49-F238E27FC236}">
                <a16:creationId xmlns:a16="http://schemas.microsoft.com/office/drawing/2014/main" id="{3691C11D-3964-4BB0-B796-FEA507550629}"/>
              </a:ext>
            </a:extLst>
          </p:cNvPr>
          <p:cNvSpPr/>
          <p:nvPr userDrawn="1"/>
        </p:nvSpPr>
        <p:spPr bwMode="auto">
          <a:xfrm>
            <a:off x="0" y="0"/>
            <a:ext cx="9756401" cy="6858000"/>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a:extLst>
              <a:ext uri="{FF2B5EF4-FFF2-40B4-BE49-F238E27FC236}">
                <a16:creationId xmlns:a16="http://schemas.microsoft.com/office/drawing/2014/main" id="{E4E3C03F-2C8A-4774-B66F-35EB42C7EAB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10" name="Picture 9">
            <a:extLst>
              <a:ext uri="{FF2B5EF4-FFF2-40B4-BE49-F238E27FC236}">
                <a16:creationId xmlns:a16="http://schemas.microsoft.com/office/drawing/2014/main" id="{EA1C0813-B896-42D7-8F24-9E6611D6CEB0}"/>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
        <p:nvSpPr>
          <p:cNvPr id="2" name="TextBox 1">
            <a:extLst>
              <a:ext uri="{FF2B5EF4-FFF2-40B4-BE49-F238E27FC236}">
                <a16:creationId xmlns:a16="http://schemas.microsoft.com/office/drawing/2014/main" id="{3A5C583B-94EB-4939-86BD-77C19671D037}"/>
              </a:ext>
            </a:extLst>
          </p:cNvPr>
          <p:cNvSpPr txBox="1"/>
          <p:nvPr userDrawn="1"/>
        </p:nvSpPr>
        <p:spPr>
          <a:xfrm>
            <a:off x="194536" y="2632329"/>
            <a:ext cx="12191999" cy="1593341"/>
          </a:xfrm>
          <a:prstGeom prst="rect">
            <a:avLst/>
          </a:prstGeom>
          <a:noFill/>
        </p:spPr>
        <p:txBody>
          <a:bodyPr wrap="square" lIns="179285" tIns="143428" rIns="179285" bIns="143428" rtlCol="0">
            <a:spAutoFit/>
          </a:bodyPr>
          <a:lstStyle/>
          <a:p>
            <a:pPr algn="l">
              <a:lnSpc>
                <a:spcPct val="90000"/>
              </a:lnSpc>
              <a:spcAft>
                <a:spcPts val="588"/>
              </a:spcAft>
            </a:pPr>
            <a:r>
              <a:rPr lang="en-US" sz="9411" dirty="0">
                <a:solidFill>
                  <a:schemeClr val="bg1"/>
                </a:solidFill>
                <a:latin typeface="+mj-lt"/>
              </a:rPr>
              <a:t>Thank You</a:t>
            </a:r>
          </a:p>
        </p:txBody>
      </p:sp>
    </p:spTree>
    <p:extLst>
      <p:ext uri="{BB962C8B-B14F-4D97-AF65-F5344CB8AC3E}">
        <p14:creationId xmlns:p14="http://schemas.microsoft.com/office/powerpoint/2010/main" val="1786002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hank You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665A84C-887B-4C8F-AA82-475CC75CA61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63A98012-256F-42B6-9F41-6BAB05307CDF}"/>
              </a:ext>
            </a:extLst>
          </p:cNvPr>
          <p:cNvSpPr/>
          <p:nvPr userDrawn="1"/>
        </p:nvSpPr>
        <p:spPr bwMode="auto">
          <a:xfrm>
            <a:off x="0" y="0"/>
            <a:ext cx="9756401" cy="6858000"/>
          </a:xfrm>
          <a:prstGeom prst="rect">
            <a:avLst/>
          </a:prstGeom>
          <a:gradFill flip="none" rotWithShape="1">
            <a:gsLst>
              <a:gs pos="57000">
                <a:srgbClr val="000000">
                  <a:alpha val="41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EFB2AA09-9289-4A37-A514-80F7AAE8A65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3490" y="243545"/>
            <a:ext cx="1629151" cy="599358"/>
          </a:xfrm>
          <a:prstGeom prst="rect">
            <a:avLst/>
          </a:prstGeom>
        </p:spPr>
      </p:pic>
      <p:pic>
        <p:nvPicPr>
          <p:cNvPr id="9" name="Picture 8">
            <a:extLst>
              <a:ext uri="{FF2B5EF4-FFF2-40B4-BE49-F238E27FC236}">
                <a16:creationId xmlns:a16="http://schemas.microsoft.com/office/drawing/2014/main" id="{7D54480F-1872-4932-9CFE-03BD1176195D}"/>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073" y="1015513"/>
            <a:ext cx="3361758" cy="1148255"/>
          </a:xfrm>
          <a:prstGeom prst="rect">
            <a:avLst/>
          </a:prstGeom>
        </p:spPr>
      </p:pic>
      <p:sp>
        <p:nvSpPr>
          <p:cNvPr id="10" name="TextBox 9">
            <a:extLst>
              <a:ext uri="{FF2B5EF4-FFF2-40B4-BE49-F238E27FC236}">
                <a16:creationId xmlns:a16="http://schemas.microsoft.com/office/drawing/2014/main" id="{31114D0D-4452-4D0D-8D92-0E07C17E0DDB}"/>
              </a:ext>
            </a:extLst>
          </p:cNvPr>
          <p:cNvSpPr txBox="1"/>
          <p:nvPr userDrawn="1"/>
        </p:nvSpPr>
        <p:spPr>
          <a:xfrm>
            <a:off x="194536" y="2632329"/>
            <a:ext cx="12191999" cy="1593341"/>
          </a:xfrm>
          <a:prstGeom prst="rect">
            <a:avLst/>
          </a:prstGeom>
          <a:noFill/>
        </p:spPr>
        <p:txBody>
          <a:bodyPr wrap="square" lIns="179285" tIns="143428" rIns="179285" bIns="143428" rtlCol="0">
            <a:spAutoFit/>
          </a:bodyPr>
          <a:lstStyle/>
          <a:p>
            <a:pPr algn="l">
              <a:lnSpc>
                <a:spcPct val="90000"/>
              </a:lnSpc>
              <a:spcAft>
                <a:spcPts val="588"/>
              </a:spcAft>
            </a:pPr>
            <a:r>
              <a:rPr lang="en-US" sz="9411" dirty="0">
                <a:solidFill>
                  <a:schemeClr val="bg1"/>
                </a:solidFill>
                <a:latin typeface="+mj-lt"/>
              </a:rPr>
              <a:t>Thank You</a:t>
            </a:r>
          </a:p>
        </p:txBody>
      </p:sp>
    </p:spTree>
    <p:extLst>
      <p:ext uri="{BB962C8B-B14F-4D97-AF65-F5344CB8AC3E}">
        <p14:creationId xmlns:p14="http://schemas.microsoft.com/office/powerpoint/2010/main" val="59542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losing logo slide light">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a:t>
            </a:r>
            <a:r>
              <a:rPr lang="en-US" sz="686" baseline="0" dirty="0">
                <a:gradFill>
                  <a:gsLst>
                    <a:gs pos="0">
                      <a:schemeClr val="tx1"/>
                    </a:gs>
                    <a:gs pos="100000">
                      <a:schemeClr val="tx1"/>
                    </a:gs>
                  </a:gsLst>
                  <a:lin ang="5400000" scaled="0"/>
                </a:gradFill>
                <a:cs typeface="Segoe UI" pitchFamily="34" charset="0"/>
              </a:rPr>
              <a:t> Copyright</a:t>
            </a:r>
            <a:r>
              <a:rPr lang="en-US" sz="686" dirty="0">
                <a:gradFill>
                  <a:gsLst>
                    <a:gs pos="0">
                      <a:schemeClr val="tx1"/>
                    </a:gs>
                    <a:gs pos="100000">
                      <a:schemeClr val="tx1"/>
                    </a:gs>
                  </a:gsLst>
                  <a:lin ang="5400000" scaled="0"/>
                </a:gradFill>
                <a:cs typeface="Segoe UI" pitchFamily="34" charset="0"/>
              </a:rPr>
              <a:t> 2018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1199027305"/>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losing logo slide dark">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solidFill>
                  <a:schemeClr val="bg1"/>
                </a:solidFill>
                <a:cs typeface="Segoe UI" pitchFamily="34" charset="0"/>
              </a:rPr>
              <a:t>© Copyright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4229560849"/>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Closing logo slide dark">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solidFill>
                  <a:schemeClr val="bg1"/>
                </a:solidFill>
                <a:cs typeface="Segoe UI" pitchFamily="34" charset="0"/>
              </a:rPr>
              <a:t>© Copyright 2018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1559307309"/>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7"/>
            <a:ext cx="11653523" cy="2806859"/>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028752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13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8010034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Intelligent Cloud Architect Boot Camp">
    <p:bg>
      <p:bgPr>
        <a:solidFill>
          <a:schemeClr val="bg2"/>
        </a:solidFill>
        <a:effectLst/>
      </p:bgPr>
    </p:bg>
    <p:spTree>
      <p:nvGrpSpPr>
        <p:cNvPr id="1" name=""/>
        <p:cNvGrpSpPr/>
        <p:nvPr/>
      </p:nvGrpSpPr>
      <p:grpSpPr>
        <a:xfrm>
          <a:off x="0" y="0"/>
          <a:ext cx="0" cy="0"/>
          <a:chOff x="0" y="0"/>
          <a:chExt cx="0" cy="0"/>
        </a:xfrm>
      </p:grpSpPr>
      <p:sp>
        <p:nvSpPr>
          <p:cNvPr id="11" name="Arc 12">
            <a:extLst>
              <a:ext uri="{FF2B5EF4-FFF2-40B4-BE49-F238E27FC236}">
                <a16:creationId xmlns:a16="http://schemas.microsoft.com/office/drawing/2014/main" id="{4482FD05-F4F6-4D52-A0D4-67F8B984BC9F}"/>
              </a:ext>
            </a:extLst>
          </p:cNvPr>
          <p:cNvSpPr/>
          <p:nvPr userDrawn="1"/>
        </p:nvSpPr>
        <p:spPr>
          <a:xfrm rot="16200000">
            <a:off x="8300547" y="1869066"/>
            <a:ext cx="2659858" cy="5123677"/>
          </a:xfrm>
          <a:custGeom>
            <a:avLst/>
            <a:gdLst>
              <a:gd name="connsiteX0" fmla="*/ 1485900 w 2971800"/>
              <a:gd name="connsiteY0" fmla="*/ 0 h 4581267"/>
              <a:gd name="connsiteX1" fmla="*/ 2735082 w 2971800"/>
              <a:gd name="connsiteY1" fmla="*/ 1050219 h 4581267"/>
              <a:gd name="connsiteX2" fmla="*/ 2971785 w 2971800"/>
              <a:gd name="connsiteY2" fmla="*/ 2301099 h 4581267"/>
              <a:gd name="connsiteX3" fmla="*/ 1485900 w 2971800"/>
              <a:gd name="connsiteY3" fmla="*/ 2290634 h 4581267"/>
              <a:gd name="connsiteX4" fmla="*/ 1485900 w 2971800"/>
              <a:gd name="connsiteY4" fmla="*/ 0 h 4581267"/>
              <a:gd name="connsiteX0" fmla="*/ 1485900 w 2971800"/>
              <a:gd name="connsiteY0" fmla="*/ 0 h 4581267"/>
              <a:gd name="connsiteX1" fmla="*/ 2735082 w 2971800"/>
              <a:gd name="connsiteY1" fmla="*/ 1050219 h 4581267"/>
              <a:gd name="connsiteX2" fmla="*/ 2971785 w 2971800"/>
              <a:gd name="connsiteY2" fmla="*/ 2301099 h 4581267"/>
              <a:gd name="connsiteX0" fmla="*/ 0 w 1485900"/>
              <a:gd name="connsiteY0" fmla="*/ 0 h 5095102"/>
              <a:gd name="connsiteX1" fmla="*/ 1249182 w 1485900"/>
              <a:gd name="connsiteY1" fmla="*/ 1050219 h 5095102"/>
              <a:gd name="connsiteX2" fmla="*/ 1485885 w 1485900"/>
              <a:gd name="connsiteY2" fmla="*/ 2301099 h 5095102"/>
              <a:gd name="connsiteX3" fmla="*/ 0 w 1485900"/>
              <a:gd name="connsiteY3" fmla="*/ 2290634 h 5095102"/>
              <a:gd name="connsiteX4" fmla="*/ 0 w 1485900"/>
              <a:gd name="connsiteY4" fmla="*/ 0 h 5095102"/>
              <a:gd name="connsiteX0" fmla="*/ 0 w 1485900"/>
              <a:gd name="connsiteY0" fmla="*/ 0 h 5095102"/>
              <a:gd name="connsiteX1" fmla="*/ 1249182 w 1485900"/>
              <a:gd name="connsiteY1" fmla="*/ 1050219 h 5095102"/>
              <a:gd name="connsiteX2" fmla="*/ 457184 w 1485900"/>
              <a:gd name="connsiteY2" fmla="*/ 5095102 h 5095102"/>
              <a:gd name="connsiteX0" fmla="*/ 1143000 w 2628900"/>
              <a:gd name="connsiteY0" fmla="*/ 0 h 5095102"/>
              <a:gd name="connsiteX1" fmla="*/ 2392182 w 2628900"/>
              <a:gd name="connsiteY1" fmla="*/ 1050219 h 5095102"/>
              <a:gd name="connsiteX2" fmla="*/ 2628885 w 2628900"/>
              <a:gd name="connsiteY2" fmla="*/ 2301099 h 5095102"/>
              <a:gd name="connsiteX3" fmla="*/ 1143000 w 2628900"/>
              <a:gd name="connsiteY3" fmla="*/ 2290634 h 5095102"/>
              <a:gd name="connsiteX4" fmla="*/ 1143000 w 2628900"/>
              <a:gd name="connsiteY4" fmla="*/ 0 h 5095102"/>
              <a:gd name="connsiteX0" fmla="*/ 0 w 2628900"/>
              <a:gd name="connsiteY0" fmla="*/ 1816100 h 5095102"/>
              <a:gd name="connsiteX1" fmla="*/ 2392182 w 2628900"/>
              <a:gd name="connsiteY1" fmla="*/ 1050219 h 5095102"/>
              <a:gd name="connsiteX2" fmla="*/ 1600184 w 2628900"/>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2425520 w 2662238"/>
              <a:gd name="connsiteY1" fmla="*/ 1050219 h 5095102"/>
              <a:gd name="connsiteX2" fmla="*/ 1633522 w 2662238"/>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Lst>
            <a:ahLst/>
            <a:cxnLst>
              <a:cxn ang="0">
                <a:pos x="connsiteX0" y="connsiteY0"/>
              </a:cxn>
              <a:cxn ang="0">
                <a:pos x="connsiteX1" y="connsiteY1"/>
              </a:cxn>
            </a:cxnLst>
            <a:rect l="l" t="t" r="r" b="b"/>
            <a:pathLst>
              <a:path w="2659858" h="5123677" stroke="0" extrusionOk="0">
                <a:moveTo>
                  <a:pt x="1173958" y="0"/>
                </a:moveTo>
                <a:cubicBezTo>
                  <a:pt x="1679080" y="0"/>
                  <a:pt x="2149608" y="395585"/>
                  <a:pt x="2423140" y="1050219"/>
                </a:cubicBezTo>
                <a:cubicBezTo>
                  <a:pt x="2578929" y="1423063"/>
                  <a:pt x="2661157" y="1857606"/>
                  <a:pt x="2659843" y="2301099"/>
                </a:cubicBezTo>
                <a:lnTo>
                  <a:pt x="1173958" y="2290634"/>
                </a:lnTo>
                <a:lnTo>
                  <a:pt x="1173958" y="0"/>
                </a:lnTo>
                <a:close/>
              </a:path>
              <a:path w="2659858" h="5123677" fill="none">
                <a:moveTo>
                  <a:pt x="0" y="1889922"/>
                </a:moveTo>
                <a:cubicBezTo>
                  <a:pt x="1442247" y="2534466"/>
                  <a:pt x="1905795" y="3976716"/>
                  <a:pt x="1650192" y="5123677"/>
                </a:cubicBezTo>
              </a:path>
            </a:pathLst>
          </a:custGeom>
          <a:noFill/>
          <a:ln w="12700">
            <a:solidFill>
              <a:schemeClr val="accent1">
                <a:lumMod val="20000"/>
                <a:lumOff val="80000"/>
                <a:alpha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2" name="Arc 12">
            <a:extLst>
              <a:ext uri="{FF2B5EF4-FFF2-40B4-BE49-F238E27FC236}">
                <a16:creationId xmlns:a16="http://schemas.microsoft.com/office/drawing/2014/main" id="{E73B8847-EA8B-4495-9732-9FA0DB1963B0}"/>
              </a:ext>
            </a:extLst>
          </p:cNvPr>
          <p:cNvSpPr/>
          <p:nvPr userDrawn="1"/>
        </p:nvSpPr>
        <p:spPr>
          <a:xfrm rot="16200000">
            <a:off x="4275598" y="-1752530"/>
            <a:ext cx="6569893" cy="9188265"/>
          </a:xfrm>
          <a:custGeom>
            <a:avLst/>
            <a:gdLst>
              <a:gd name="connsiteX0" fmla="*/ 1485900 w 2971800"/>
              <a:gd name="connsiteY0" fmla="*/ 0 h 4581267"/>
              <a:gd name="connsiteX1" fmla="*/ 2735082 w 2971800"/>
              <a:gd name="connsiteY1" fmla="*/ 1050219 h 4581267"/>
              <a:gd name="connsiteX2" fmla="*/ 2971785 w 2971800"/>
              <a:gd name="connsiteY2" fmla="*/ 2301099 h 4581267"/>
              <a:gd name="connsiteX3" fmla="*/ 1485900 w 2971800"/>
              <a:gd name="connsiteY3" fmla="*/ 2290634 h 4581267"/>
              <a:gd name="connsiteX4" fmla="*/ 1485900 w 2971800"/>
              <a:gd name="connsiteY4" fmla="*/ 0 h 4581267"/>
              <a:gd name="connsiteX0" fmla="*/ 1485900 w 2971800"/>
              <a:gd name="connsiteY0" fmla="*/ 0 h 4581267"/>
              <a:gd name="connsiteX1" fmla="*/ 2735082 w 2971800"/>
              <a:gd name="connsiteY1" fmla="*/ 1050219 h 4581267"/>
              <a:gd name="connsiteX2" fmla="*/ 2971785 w 2971800"/>
              <a:gd name="connsiteY2" fmla="*/ 2301099 h 4581267"/>
              <a:gd name="connsiteX0" fmla="*/ 0 w 1485900"/>
              <a:gd name="connsiteY0" fmla="*/ 0 h 5095102"/>
              <a:gd name="connsiteX1" fmla="*/ 1249182 w 1485900"/>
              <a:gd name="connsiteY1" fmla="*/ 1050219 h 5095102"/>
              <a:gd name="connsiteX2" fmla="*/ 1485885 w 1485900"/>
              <a:gd name="connsiteY2" fmla="*/ 2301099 h 5095102"/>
              <a:gd name="connsiteX3" fmla="*/ 0 w 1485900"/>
              <a:gd name="connsiteY3" fmla="*/ 2290634 h 5095102"/>
              <a:gd name="connsiteX4" fmla="*/ 0 w 1485900"/>
              <a:gd name="connsiteY4" fmla="*/ 0 h 5095102"/>
              <a:gd name="connsiteX0" fmla="*/ 0 w 1485900"/>
              <a:gd name="connsiteY0" fmla="*/ 0 h 5095102"/>
              <a:gd name="connsiteX1" fmla="*/ 1249182 w 1485900"/>
              <a:gd name="connsiteY1" fmla="*/ 1050219 h 5095102"/>
              <a:gd name="connsiteX2" fmla="*/ 457184 w 1485900"/>
              <a:gd name="connsiteY2" fmla="*/ 5095102 h 5095102"/>
              <a:gd name="connsiteX0" fmla="*/ 1143000 w 2628900"/>
              <a:gd name="connsiteY0" fmla="*/ 0 h 5095102"/>
              <a:gd name="connsiteX1" fmla="*/ 2392182 w 2628900"/>
              <a:gd name="connsiteY1" fmla="*/ 1050219 h 5095102"/>
              <a:gd name="connsiteX2" fmla="*/ 2628885 w 2628900"/>
              <a:gd name="connsiteY2" fmla="*/ 2301099 h 5095102"/>
              <a:gd name="connsiteX3" fmla="*/ 1143000 w 2628900"/>
              <a:gd name="connsiteY3" fmla="*/ 2290634 h 5095102"/>
              <a:gd name="connsiteX4" fmla="*/ 1143000 w 2628900"/>
              <a:gd name="connsiteY4" fmla="*/ 0 h 5095102"/>
              <a:gd name="connsiteX0" fmla="*/ 0 w 2628900"/>
              <a:gd name="connsiteY0" fmla="*/ 1816100 h 5095102"/>
              <a:gd name="connsiteX1" fmla="*/ 2392182 w 2628900"/>
              <a:gd name="connsiteY1" fmla="*/ 1050219 h 5095102"/>
              <a:gd name="connsiteX2" fmla="*/ 1600184 w 2628900"/>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2425520 w 2662238"/>
              <a:gd name="connsiteY1" fmla="*/ 1050219 h 5095102"/>
              <a:gd name="connsiteX2" fmla="*/ 1633522 w 2662238"/>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Lst>
            <a:ahLst/>
            <a:cxnLst>
              <a:cxn ang="0">
                <a:pos x="connsiteX0" y="connsiteY0"/>
              </a:cxn>
              <a:cxn ang="0">
                <a:pos x="connsiteX1" y="connsiteY1"/>
              </a:cxn>
            </a:cxnLst>
            <a:rect l="l" t="t" r="r" b="b"/>
            <a:pathLst>
              <a:path w="2636109" h="5123677" stroke="0" extrusionOk="0">
                <a:moveTo>
                  <a:pt x="1150209" y="0"/>
                </a:moveTo>
                <a:cubicBezTo>
                  <a:pt x="1655331" y="0"/>
                  <a:pt x="2125859" y="395585"/>
                  <a:pt x="2399391" y="1050219"/>
                </a:cubicBezTo>
                <a:cubicBezTo>
                  <a:pt x="2555180" y="1423063"/>
                  <a:pt x="2637408" y="1857606"/>
                  <a:pt x="2636094" y="2301099"/>
                </a:cubicBezTo>
                <a:lnTo>
                  <a:pt x="1150209" y="2290634"/>
                </a:lnTo>
                <a:lnTo>
                  <a:pt x="1150209" y="0"/>
                </a:lnTo>
                <a:close/>
              </a:path>
              <a:path w="2636109" h="5123677" fill="none">
                <a:moveTo>
                  <a:pt x="0" y="2045387"/>
                </a:moveTo>
                <a:cubicBezTo>
                  <a:pt x="1360446" y="2375211"/>
                  <a:pt x="1736915" y="4098056"/>
                  <a:pt x="1626443" y="5123677"/>
                </a:cubicBezTo>
              </a:path>
            </a:pathLst>
          </a:custGeom>
          <a:noFill/>
          <a:ln w="12700">
            <a:solidFill>
              <a:schemeClr val="accent1">
                <a:lumMod val="20000"/>
                <a:lumOff val="80000"/>
                <a:alpha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3" name="Freeform 11">
            <a:extLst>
              <a:ext uri="{FF2B5EF4-FFF2-40B4-BE49-F238E27FC236}">
                <a16:creationId xmlns:a16="http://schemas.microsoft.com/office/drawing/2014/main" id="{1F943766-1615-4432-905C-072976630204}"/>
              </a:ext>
            </a:extLst>
          </p:cNvPr>
          <p:cNvSpPr>
            <a:spLocks/>
          </p:cNvSpPr>
          <p:nvPr userDrawn="1"/>
        </p:nvSpPr>
        <p:spPr bwMode="auto">
          <a:xfrm>
            <a:off x="-92363" y="4651949"/>
            <a:ext cx="12284364" cy="2258859"/>
          </a:xfrm>
          <a:custGeom>
            <a:avLst/>
            <a:gdLst>
              <a:gd name="T0" fmla="*/ 4468 w 4666"/>
              <a:gd name="T1" fmla="*/ 394 h 887"/>
              <a:gd name="T2" fmla="*/ 4208 w 4666"/>
              <a:gd name="T3" fmla="*/ 497 h 887"/>
              <a:gd name="T4" fmla="*/ 4019 w 4666"/>
              <a:gd name="T5" fmla="*/ 257 h 887"/>
              <a:gd name="T6" fmla="*/ 3962 w 4666"/>
              <a:gd name="T7" fmla="*/ 180 h 887"/>
              <a:gd name="T8" fmla="*/ 3796 w 4666"/>
              <a:gd name="T9" fmla="*/ 257 h 887"/>
              <a:gd name="T10" fmla="*/ 3739 w 4666"/>
              <a:gd name="T11" fmla="*/ 320 h 887"/>
              <a:gd name="T12" fmla="*/ 3606 w 4666"/>
              <a:gd name="T13" fmla="*/ 109 h 887"/>
              <a:gd name="T14" fmla="*/ 3364 w 4666"/>
              <a:gd name="T15" fmla="*/ 0 h 887"/>
              <a:gd name="T16" fmla="*/ 2978 w 4666"/>
              <a:gd name="T17" fmla="*/ 257 h 887"/>
              <a:gd name="T18" fmla="*/ 2926 w 4666"/>
              <a:gd name="T19" fmla="*/ 180 h 887"/>
              <a:gd name="T20" fmla="*/ 2760 w 4666"/>
              <a:gd name="T21" fmla="*/ 257 h 887"/>
              <a:gd name="T22" fmla="*/ 2703 w 4666"/>
              <a:gd name="T23" fmla="*/ 497 h 887"/>
              <a:gd name="T24" fmla="*/ 2512 w 4666"/>
              <a:gd name="T25" fmla="*/ 394 h 887"/>
              <a:gd name="T26" fmla="*/ 2254 w 4666"/>
              <a:gd name="T27" fmla="*/ 320 h 887"/>
              <a:gd name="T28" fmla="*/ 1955 w 4666"/>
              <a:gd name="T29" fmla="*/ 91 h 887"/>
              <a:gd name="T30" fmla="*/ 1751 w 4666"/>
              <a:gd name="T31" fmla="*/ 465 h 887"/>
              <a:gd name="T32" fmla="*/ 1567 w 4666"/>
              <a:gd name="T33" fmla="*/ 394 h 887"/>
              <a:gd name="T34" fmla="*/ 1325 w 4666"/>
              <a:gd name="T35" fmla="*/ 394 h 887"/>
              <a:gd name="T36" fmla="*/ 1290 w 4666"/>
              <a:gd name="T37" fmla="*/ 497 h 887"/>
              <a:gd name="T38" fmla="*/ 1099 w 4666"/>
              <a:gd name="T39" fmla="*/ 428 h 887"/>
              <a:gd name="T40" fmla="*/ 1044 w 4666"/>
              <a:gd name="T41" fmla="*/ 351 h 887"/>
              <a:gd name="T42" fmla="*/ 876 w 4666"/>
              <a:gd name="T43" fmla="*/ 428 h 887"/>
              <a:gd name="T44" fmla="*/ 821 w 4666"/>
              <a:gd name="T45" fmla="*/ 634 h 887"/>
              <a:gd name="T46" fmla="*/ 567 w 4666"/>
              <a:gd name="T47" fmla="*/ 465 h 887"/>
              <a:gd name="T48" fmla="*/ 325 w 4666"/>
              <a:gd name="T49" fmla="*/ 603 h 887"/>
              <a:gd name="T50" fmla="*/ 0 w 4666"/>
              <a:gd name="T51" fmla="*/ 887 h 887"/>
              <a:gd name="T52" fmla="*/ 327 w 4666"/>
              <a:gd name="T53" fmla="*/ 887 h 887"/>
              <a:gd name="T54" fmla="*/ 567 w 4666"/>
              <a:gd name="T55" fmla="*/ 887 h 887"/>
              <a:gd name="T56" fmla="*/ 860 w 4666"/>
              <a:gd name="T57" fmla="*/ 887 h 887"/>
              <a:gd name="T58" fmla="*/ 1099 w 4666"/>
              <a:gd name="T59" fmla="*/ 887 h 887"/>
              <a:gd name="T60" fmla="*/ 1204 w 4666"/>
              <a:gd name="T61" fmla="*/ 887 h 887"/>
              <a:gd name="T62" fmla="*/ 1321 w 4666"/>
              <a:gd name="T63" fmla="*/ 887 h 887"/>
              <a:gd name="T64" fmla="*/ 1346 w 4666"/>
              <a:gd name="T65" fmla="*/ 887 h 887"/>
              <a:gd name="T66" fmla="*/ 1553 w 4666"/>
              <a:gd name="T67" fmla="*/ 887 h 887"/>
              <a:gd name="T68" fmla="*/ 1751 w 4666"/>
              <a:gd name="T69" fmla="*/ 887 h 887"/>
              <a:gd name="T70" fmla="*/ 1827 w 4666"/>
              <a:gd name="T71" fmla="*/ 887 h 887"/>
              <a:gd name="T72" fmla="*/ 2254 w 4666"/>
              <a:gd name="T73" fmla="*/ 887 h 887"/>
              <a:gd name="T74" fmla="*/ 2512 w 4666"/>
              <a:gd name="T75" fmla="*/ 887 h 887"/>
              <a:gd name="T76" fmla="*/ 2741 w 4666"/>
              <a:gd name="T77" fmla="*/ 887 h 887"/>
              <a:gd name="T78" fmla="*/ 2981 w 4666"/>
              <a:gd name="T79" fmla="*/ 887 h 887"/>
              <a:gd name="T80" fmla="*/ 3364 w 4666"/>
              <a:gd name="T81" fmla="*/ 887 h 887"/>
              <a:gd name="T82" fmla="*/ 3606 w 4666"/>
              <a:gd name="T83" fmla="*/ 887 h 887"/>
              <a:gd name="T84" fmla="*/ 3780 w 4666"/>
              <a:gd name="T85" fmla="*/ 887 h 887"/>
              <a:gd name="T86" fmla="*/ 4019 w 4666"/>
              <a:gd name="T87" fmla="*/ 887 h 887"/>
              <a:gd name="T88" fmla="*/ 4208 w 4666"/>
              <a:gd name="T89" fmla="*/ 887 h 887"/>
              <a:gd name="T90" fmla="*/ 4468 w 4666"/>
              <a:gd name="T91" fmla="*/ 887 h 887"/>
              <a:gd name="T92" fmla="*/ 4666 w 4666"/>
              <a:gd name="T93" fmla="*/ 722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666" h="887">
                <a:moveTo>
                  <a:pt x="4468" y="722"/>
                </a:moveTo>
                <a:lnTo>
                  <a:pt x="4468" y="394"/>
                </a:lnTo>
                <a:lnTo>
                  <a:pt x="4208" y="394"/>
                </a:lnTo>
                <a:lnTo>
                  <a:pt x="4208" y="497"/>
                </a:lnTo>
                <a:lnTo>
                  <a:pt x="4019" y="497"/>
                </a:lnTo>
                <a:lnTo>
                  <a:pt x="4019" y="257"/>
                </a:lnTo>
                <a:lnTo>
                  <a:pt x="3962" y="257"/>
                </a:lnTo>
                <a:lnTo>
                  <a:pt x="3962" y="180"/>
                </a:lnTo>
                <a:lnTo>
                  <a:pt x="3796" y="180"/>
                </a:lnTo>
                <a:lnTo>
                  <a:pt x="3796" y="257"/>
                </a:lnTo>
                <a:lnTo>
                  <a:pt x="3739" y="257"/>
                </a:lnTo>
                <a:lnTo>
                  <a:pt x="3739" y="320"/>
                </a:lnTo>
                <a:lnTo>
                  <a:pt x="3606" y="320"/>
                </a:lnTo>
                <a:lnTo>
                  <a:pt x="3606" y="109"/>
                </a:lnTo>
                <a:lnTo>
                  <a:pt x="3364" y="306"/>
                </a:lnTo>
                <a:lnTo>
                  <a:pt x="3364" y="0"/>
                </a:lnTo>
                <a:lnTo>
                  <a:pt x="2978" y="0"/>
                </a:lnTo>
                <a:lnTo>
                  <a:pt x="2978" y="257"/>
                </a:lnTo>
                <a:lnTo>
                  <a:pt x="2926" y="257"/>
                </a:lnTo>
                <a:lnTo>
                  <a:pt x="2926" y="180"/>
                </a:lnTo>
                <a:lnTo>
                  <a:pt x="2760" y="180"/>
                </a:lnTo>
                <a:lnTo>
                  <a:pt x="2760" y="257"/>
                </a:lnTo>
                <a:lnTo>
                  <a:pt x="2703" y="257"/>
                </a:lnTo>
                <a:lnTo>
                  <a:pt x="2703" y="497"/>
                </a:lnTo>
                <a:lnTo>
                  <a:pt x="2512" y="497"/>
                </a:lnTo>
                <a:lnTo>
                  <a:pt x="2512" y="394"/>
                </a:lnTo>
                <a:lnTo>
                  <a:pt x="2254" y="394"/>
                </a:lnTo>
                <a:lnTo>
                  <a:pt x="2254" y="320"/>
                </a:lnTo>
                <a:lnTo>
                  <a:pt x="1955" y="320"/>
                </a:lnTo>
                <a:lnTo>
                  <a:pt x="1955" y="91"/>
                </a:lnTo>
                <a:lnTo>
                  <a:pt x="1751" y="91"/>
                </a:lnTo>
                <a:lnTo>
                  <a:pt x="1751" y="465"/>
                </a:lnTo>
                <a:lnTo>
                  <a:pt x="1567" y="465"/>
                </a:lnTo>
                <a:lnTo>
                  <a:pt x="1567" y="394"/>
                </a:lnTo>
                <a:lnTo>
                  <a:pt x="1550" y="394"/>
                </a:lnTo>
                <a:lnTo>
                  <a:pt x="1325" y="394"/>
                </a:lnTo>
                <a:lnTo>
                  <a:pt x="1290" y="394"/>
                </a:lnTo>
                <a:lnTo>
                  <a:pt x="1290" y="497"/>
                </a:lnTo>
                <a:lnTo>
                  <a:pt x="1099" y="497"/>
                </a:lnTo>
                <a:lnTo>
                  <a:pt x="1099" y="428"/>
                </a:lnTo>
                <a:lnTo>
                  <a:pt x="1044" y="428"/>
                </a:lnTo>
                <a:lnTo>
                  <a:pt x="1044" y="351"/>
                </a:lnTo>
                <a:lnTo>
                  <a:pt x="876" y="351"/>
                </a:lnTo>
                <a:lnTo>
                  <a:pt x="876" y="428"/>
                </a:lnTo>
                <a:lnTo>
                  <a:pt x="821" y="428"/>
                </a:lnTo>
                <a:lnTo>
                  <a:pt x="821" y="634"/>
                </a:lnTo>
                <a:lnTo>
                  <a:pt x="567" y="634"/>
                </a:lnTo>
                <a:lnTo>
                  <a:pt x="567" y="465"/>
                </a:lnTo>
                <a:lnTo>
                  <a:pt x="325" y="465"/>
                </a:lnTo>
                <a:lnTo>
                  <a:pt x="325" y="603"/>
                </a:lnTo>
                <a:lnTo>
                  <a:pt x="0" y="603"/>
                </a:lnTo>
                <a:lnTo>
                  <a:pt x="0" y="887"/>
                </a:lnTo>
                <a:lnTo>
                  <a:pt x="325" y="887"/>
                </a:lnTo>
                <a:lnTo>
                  <a:pt x="327" y="887"/>
                </a:lnTo>
                <a:lnTo>
                  <a:pt x="563" y="887"/>
                </a:lnTo>
                <a:lnTo>
                  <a:pt x="567" y="887"/>
                </a:lnTo>
                <a:lnTo>
                  <a:pt x="821" y="887"/>
                </a:lnTo>
                <a:lnTo>
                  <a:pt x="860" y="887"/>
                </a:lnTo>
                <a:lnTo>
                  <a:pt x="1061" y="887"/>
                </a:lnTo>
                <a:lnTo>
                  <a:pt x="1099" y="887"/>
                </a:lnTo>
                <a:lnTo>
                  <a:pt x="1104" y="887"/>
                </a:lnTo>
                <a:lnTo>
                  <a:pt x="1204" y="887"/>
                </a:lnTo>
                <a:lnTo>
                  <a:pt x="1290" y="887"/>
                </a:lnTo>
                <a:lnTo>
                  <a:pt x="1321" y="887"/>
                </a:lnTo>
                <a:lnTo>
                  <a:pt x="1325" y="887"/>
                </a:lnTo>
                <a:lnTo>
                  <a:pt x="1346" y="887"/>
                </a:lnTo>
                <a:lnTo>
                  <a:pt x="1550" y="887"/>
                </a:lnTo>
                <a:lnTo>
                  <a:pt x="1553" y="887"/>
                </a:lnTo>
                <a:lnTo>
                  <a:pt x="1567" y="887"/>
                </a:lnTo>
                <a:lnTo>
                  <a:pt x="1751" y="887"/>
                </a:lnTo>
                <a:lnTo>
                  <a:pt x="1795" y="887"/>
                </a:lnTo>
                <a:lnTo>
                  <a:pt x="1827" y="887"/>
                </a:lnTo>
                <a:lnTo>
                  <a:pt x="1955" y="887"/>
                </a:lnTo>
                <a:lnTo>
                  <a:pt x="2254" y="887"/>
                </a:lnTo>
                <a:lnTo>
                  <a:pt x="2483" y="887"/>
                </a:lnTo>
                <a:lnTo>
                  <a:pt x="2512" y="887"/>
                </a:lnTo>
                <a:lnTo>
                  <a:pt x="2703" y="887"/>
                </a:lnTo>
                <a:lnTo>
                  <a:pt x="2741" y="887"/>
                </a:lnTo>
                <a:lnTo>
                  <a:pt x="2978" y="887"/>
                </a:lnTo>
                <a:lnTo>
                  <a:pt x="2981" y="887"/>
                </a:lnTo>
                <a:lnTo>
                  <a:pt x="3356" y="887"/>
                </a:lnTo>
                <a:lnTo>
                  <a:pt x="3364" y="887"/>
                </a:lnTo>
                <a:lnTo>
                  <a:pt x="3481" y="887"/>
                </a:lnTo>
                <a:lnTo>
                  <a:pt x="3606" y="887"/>
                </a:lnTo>
                <a:lnTo>
                  <a:pt x="3739" y="887"/>
                </a:lnTo>
                <a:lnTo>
                  <a:pt x="3780" y="887"/>
                </a:lnTo>
                <a:lnTo>
                  <a:pt x="3980" y="887"/>
                </a:lnTo>
                <a:lnTo>
                  <a:pt x="4019" y="887"/>
                </a:lnTo>
                <a:lnTo>
                  <a:pt x="4124" y="887"/>
                </a:lnTo>
                <a:lnTo>
                  <a:pt x="4208" y="887"/>
                </a:lnTo>
                <a:lnTo>
                  <a:pt x="4239" y="887"/>
                </a:lnTo>
                <a:lnTo>
                  <a:pt x="4468" y="887"/>
                </a:lnTo>
                <a:lnTo>
                  <a:pt x="4666" y="887"/>
                </a:lnTo>
                <a:lnTo>
                  <a:pt x="4666" y="722"/>
                </a:lnTo>
                <a:lnTo>
                  <a:pt x="4468" y="722"/>
                </a:lnTo>
                <a:close/>
              </a:path>
            </a:pathLst>
          </a:custGeom>
          <a:solidFill>
            <a:srgbClr val="00188F">
              <a:lumMod val="50000"/>
            </a:srgbClr>
          </a:solid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4" name="Rectangle 13">
            <a:extLst>
              <a:ext uri="{FF2B5EF4-FFF2-40B4-BE49-F238E27FC236}">
                <a16:creationId xmlns:a16="http://schemas.microsoft.com/office/drawing/2014/main" id="{7CAC56D8-7E55-4F0C-8E9D-9362AAA1BE8A}"/>
              </a:ext>
            </a:extLst>
          </p:cNvPr>
          <p:cNvSpPr/>
          <p:nvPr userDrawn="1"/>
        </p:nvSpPr>
        <p:spPr>
          <a:xfrm>
            <a:off x="6079376" y="456225"/>
            <a:ext cx="5936412" cy="1420200"/>
          </a:xfrm>
          <a:prstGeom prst="rect">
            <a:avLst/>
          </a:prstGeom>
        </p:spPr>
        <p:txBody>
          <a:bodyPr wrap="square">
            <a:spAutoFit/>
          </a:bodyPr>
          <a:lstStyle/>
          <a:p>
            <a:pPr>
              <a:lnSpc>
                <a:spcPct val="90000"/>
              </a:lnSpc>
            </a:pPr>
            <a:r>
              <a:rPr lang="en-US" sz="4800" b="1" kern="1200" cap="none" spc="-98" baseline="0">
                <a:ln w="3175">
                  <a:noFill/>
                </a:ln>
                <a:solidFill>
                  <a:schemeClr val="tx1"/>
                </a:solidFill>
                <a:effectLst/>
                <a:latin typeface="Segoe UI" panose="020B0502040204020203" pitchFamily="34" charset="0"/>
                <a:ea typeface="+mn-ea"/>
                <a:cs typeface="Segoe UI" panose="020B0502040204020203" pitchFamily="34" charset="0"/>
              </a:rPr>
              <a:t>Intelligent Cloud Architect Boot Camp</a:t>
            </a:r>
          </a:p>
        </p:txBody>
      </p:sp>
      <p:sp>
        <p:nvSpPr>
          <p:cNvPr id="15" name="Freeform 10">
            <a:extLst>
              <a:ext uri="{FF2B5EF4-FFF2-40B4-BE49-F238E27FC236}">
                <a16:creationId xmlns:a16="http://schemas.microsoft.com/office/drawing/2014/main" id="{E79ACDCA-90B8-4F93-AB30-1088C4082FC4}"/>
              </a:ext>
            </a:extLst>
          </p:cNvPr>
          <p:cNvSpPr>
            <a:spLocks/>
          </p:cNvSpPr>
          <p:nvPr userDrawn="1"/>
        </p:nvSpPr>
        <p:spPr bwMode="auto">
          <a:xfrm>
            <a:off x="269301" y="4471379"/>
            <a:ext cx="12063937" cy="2228238"/>
          </a:xfrm>
          <a:custGeom>
            <a:avLst/>
            <a:gdLst>
              <a:gd name="T0" fmla="*/ 0 w 2301"/>
              <a:gd name="T1" fmla="*/ 122 h 425"/>
              <a:gd name="T2" fmla="*/ 10 w 2301"/>
              <a:gd name="T3" fmla="*/ 293 h 425"/>
              <a:gd name="T4" fmla="*/ 34 w 2301"/>
              <a:gd name="T5" fmla="*/ 211 h 425"/>
              <a:gd name="T6" fmla="*/ 108 w 2301"/>
              <a:gd name="T7" fmla="*/ 293 h 425"/>
              <a:gd name="T8" fmla="*/ 124 w 2301"/>
              <a:gd name="T9" fmla="*/ 132 h 425"/>
              <a:gd name="T10" fmla="*/ 148 w 2301"/>
              <a:gd name="T11" fmla="*/ 78 h 425"/>
              <a:gd name="T12" fmla="*/ 187 w 2301"/>
              <a:gd name="T13" fmla="*/ 132 h 425"/>
              <a:gd name="T14" fmla="*/ 204 w 2301"/>
              <a:gd name="T15" fmla="*/ 243 h 425"/>
              <a:gd name="T16" fmla="*/ 231 w 2301"/>
              <a:gd name="T17" fmla="*/ 51 h 425"/>
              <a:gd name="T18" fmla="*/ 285 w 2301"/>
              <a:gd name="T19" fmla="*/ 51 h 425"/>
              <a:gd name="T20" fmla="*/ 307 w 2301"/>
              <a:gd name="T21" fmla="*/ 172 h 425"/>
              <a:gd name="T22" fmla="*/ 315 w 2301"/>
              <a:gd name="T23" fmla="*/ 43 h 425"/>
              <a:gd name="T24" fmla="*/ 400 w 2301"/>
              <a:gd name="T25" fmla="*/ 177 h 425"/>
              <a:gd name="T26" fmla="*/ 439 w 2301"/>
              <a:gd name="T27" fmla="*/ 39 h 425"/>
              <a:gd name="T28" fmla="*/ 471 w 2301"/>
              <a:gd name="T29" fmla="*/ 177 h 425"/>
              <a:gd name="T30" fmla="*/ 498 w 2301"/>
              <a:gd name="T31" fmla="*/ 293 h 425"/>
              <a:gd name="T32" fmla="*/ 522 w 2301"/>
              <a:gd name="T33" fmla="*/ 182 h 425"/>
              <a:gd name="T34" fmla="*/ 582 w 2301"/>
              <a:gd name="T35" fmla="*/ 264 h 425"/>
              <a:gd name="T36" fmla="*/ 682 w 2301"/>
              <a:gd name="T37" fmla="*/ 293 h 425"/>
              <a:gd name="T38" fmla="*/ 704 w 2301"/>
              <a:gd name="T39" fmla="*/ 126 h 425"/>
              <a:gd name="T40" fmla="*/ 780 w 2301"/>
              <a:gd name="T41" fmla="*/ 240 h 425"/>
              <a:gd name="T42" fmla="*/ 808 w 2301"/>
              <a:gd name="T43" fmla="*/ 154 h 425"/>
              <a:gd name="T44" fmla="*/ 852 w 2301"/>
              <a:gd name="T45" fmla="*/ 154 h 425"/>
              <a:gd name="T46" fmla="*/ 878 w 2301"/>
              <a:gd name="T47" fmla="*/ 240 h 425"/>
              <a:gd name="T48" fmla="*/ 915 w 2301"/>
              <a:gd name="T49" fmla="*/ 101 h 425"/>
              <a:gd name="T50" fmla="*/ 990 w 2301"/>
              <a:gd name="T51" fmla="*/ 101 h 425"/>
              <a:gd name="T52" fmla="*/ 1041 w 2301"/>
              <a:gd name="T53" fmla="*/ 240 h 425"/>
              <a:gd name="T54" fmla="*/ 1069 w 2301"/>
              <a:gd name="T55" fmla="*/ 154 h 425"/>
              <a:gd name="T56" fmla="*/ 1113 w 2301"/>
              <a:gd name="T57" fmla="*/ 154 h 425"/>
              <a:gd name="T58" fmla="*/ 1140 w 2301"/>
              <a:gd name="T59" fmla="*/ 240 h 425"/>
              <a:gd name="T60" fmla="*/ 1161 w 2301"/>
              <a:gd name="T61" fmla="*/ 126 h 425"/>
              <a:gd name="T62" fmla="*/ 1237 w 2301"/>
              <a:gd name="T63" fmla="*/ 293 h 425"/>
              <a:gd name="T64" fmla="*/ 1335 w 2301"/>
              <a:gd name="T65" fmla="*/ 264 h 425"/>
              <a:gd name="T66" fmla="*/ 1377 w 2301"/>
              <a:gd name="T67" fmla="*/ 182 h 425"/>
              <a:gd name="T68" fmla="*/ 1422 w 2301"/>
              <a:gd name="T69" fmla="*/ 293 h 425"/>
              <a:gd name="T70" fmla="*/ 1443 w 2301"/>
              <a:gd name="T71" fmla="*/ 177 h 425"/>
              <a:gd name="T72" fmla="*/ 1465 w 2301"/>
              <a:gd name="T73" fmla="*/ 39 h 425"/>
              <a:gd name="T74" fmla="*/ 1492 w 2301"/>
              <a:gd name="T75" fmla="*/ 177 h 425"/>
              <a:gd name="T76" fmla="*/ 1540 w 2301"/>
              <a:gd name="T77" fmla="*/ 43 h 425"/>
              <a:gd name="T78" fmla="*/ 1618 w 2301"/>
              <a:gd name="T79" fmla="*/ 172 h 425"/>
              <a:gd name="T80" fmla="*/ 1639 w 2301"/>
              <a:gd name="T81" fmla="*/ 51 h 425"/>
              <a:gd name="T82" fmla="*/ 1695 w 2301"/>
              <a:gd name="T83" fmla="*/ 51 h 425"/>
              <a:gd name="T84" fmla="*/ 1716 w 2301"/>
              <a:gd name="T85" fmla="*/ 243 h 425"/>
              <a:gd name="T86" fmla="*/ 1735 w 2301"/>
              <a:gd name="T87" fmla="*/ 132 h 425"/>
              <a:gd name="T88" fmla="*/ 1759 w 2301"/>
              <a:gd name="T89" fmla="*/ 78 h 425"/>
              <a:gd name="T90" fmla="*/ 1799 w 2301"/>
              <a:gd name="T91" fmla="*/ 132 h 425"/>
              <a:gd name="T92" fmla="*/ 1813 w 2301"/>
              <a:gd name="T93" fmla="*/ 293 h 425"/>
              <a:gd name="T94" fmla="*/ 1836 w 2301"/>
              <a:gd name="T95" fmla="*/ 211 h 425"/>
              <a:gd name="T96" fmla="*/ 1909 w 2301"/>
              <a:gd name="T97" fmla="*/ 293 h 425"/>
              <a:gd name="T98" fmla="*/ 1921 w 2301"/>
              <a:gd name="T99" fmla="*/ 122 h 425"/>
              <a:gd name="T100" fmla="*/ 2008 w 2301"/>
              <a:gd name="T101" fmla="*/ 253 h 425"/>
              <a:gd name="T102" fmla="*/ 2019 w 2301"/>
              <a:gd name="T103" fmla="*/ 161 h 425"/>
              <a:gd name="T104" fmla="*/ 2086 w 2301"/>
              <a:gd name="T105" fmla="*/ 174 h 425"/>
              <a:gd name="T106" fmla="*/ 2116 w 2301"/>
              <a:gd name="T107" fmla="*/ 159 h 425"/>
              <a:gd name="T108" fmla="*/ 2140 w 2301"/>
              <a:gd name="T109" fmla="*/ 90 h 425"/>
              <a:gd name="T110" fmla="*/ 2193 w 2301"/>
              <a:gd name="T111" fmla="*/ 159 h 425"/>
              <a:gd name="T112" fmla="*/ 2214 w 2301"/>
              <a:gd name="T113" fmla="*/ 234 h 425"/>
              <a:gd name="T114" fmla="*/ 2255 w 2301"/>
              <a:gd name="T115" fmla="*/ 125 h 425"/>
              <a:gd name="T116" fmla="*/ 2281 w 2301"/>
              <a:gd name="T117" fmla="*/ 234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01" h="425">
                <a:moveTo>
                  <a:pt x="2301" y="234"/>
                </a:moveTo>
                <a:lnTo>
                  <a:pt x="2301" y="425"/>
                </a:lnTo>
                <a:lnTo>
                  <a:pt x="0" y="425"/>
                </a:lnTo>
                <a:lnTo>
                  <a:pt x="0" y="122"/>
                </a:lnTo>
                <a:lnTo>
                  <a:pt x="10" y="122"/>
                </a:lnTo>
                <a:lnTo>
                  <a:pt x="10" y="180"/>
                </a:lnTo>
                <a:lnTo>
                  <a:pt x="10" y="180"/>
                </a:lnTo>
                <a:lnTo>
                  <a:pt x="10" y="293"/>
                </a:lnTo>
                <a:lnTo>
                  <a:pt x="21" y="293"/>
                </a:lnTo>
                <a:lnTo>
                  <a:pt x="21" y="264"/>
                </a:lnTo>
                <a:lnTo>
                  <a:pt x="34" y="264"/>
                </a:lnTo>
                <a:lnTo>
                  <a:pt x="34" y="211"/>
                </a:lnTo>
                <a:lnTo>
                  <a:pt x="94" y="211"/>
                </a:lnTo>
                <a:lnTo>
                  <a:pt x="94" y="264"/>
                </a:lnTo>
                <a:lnTo>
                  <a:pt x="108" y="264"/>
                </a:lnTo>
                <a:lnTo>
                  <a:pt x="108" y="293"/>
                </a:lnTo>
                <a:lnTo>
                  <a:pt x="117" y="293"/>
                </a:lnTo>
                <a:lnTo>
                  <a:pt x="117" y="159"/>
                </a:lnTo>
                <a:lnTo>
                  <a:pt x="124" y="159"/>
                </a:lnTo>
                <a:lnTo>
                  <a:pt x="124" y="132"/>
                </a:lnTo>
                <a:lnTo>
                  <a:pt x="132" y="132"/>
                </a:lnTo>
                <a:lnTo>
                  <a:pt x="132" y="105"/>
                </a:lnTo>
                <a:lnTo>
                  <a:pt x="148" y="105"/>
                </a:lnTo>
                <a:lnTo>
                  <a:pt x="148" y="78"/>
                </a:lnTo>
                <a:lnTo>
                  <a:pt x="171" y="78"/>
                </a:lnTo>
                <a:lnTo>
                  <a:pt x="171" y="105"/>
                </a:lnTo>
                <a:lnTo>
                  <a:pt x="187" y="105"/>
                </a:lnTo>
                <a:lnTo>
                  <a:pt x="187" y="132"/>
                </a:lnTo>
                <a:lnTo>
                  <a:pt x="195" y="132"/>
                </a:lnTo>
                <a:lnTo>
                  <a:pt x="195" y="159"/>
                </a:lnTo>
                <a:lnTo>
                  <a:pt x="204" y="159"/>
                </a:lnTo>
                <a:lnTo>
                  <a:pt x="204" y="243"/>
                </a:lnTo>
                <a:lnTo>
                  <a:pt x="215" y="243"/>
                </a:lnTo>
                <a:lnTo>
                  <a:pt x="215" y="84"/>
                </a:lnTo>
                <a:lnTo>
                  <a:pt x="231" y="84"/>
                </a:lnTo>
                <a:lnTo>
                  <a:pt x="231" y="51"/>
                </a:lnTo>
                <a:lnTo>
                  <a:pt x="235" y="51"/>
                </a:lnTo>
                <a:lnTo>
                  <a:pt x="235" y="0"/>
                </a:lnTo>
                <a:lnTo>
                  <a:pt x="285" y="0"/>
                </a:lnTo>
                <a:lnTo>
                  <a:pt x="285" y="51"/>
                </a:lnTo>
                <a:lnTo>
                  <a:pt x="291" y="51"/>
                </a:lnTo>
                <a:lnTo>
                  <a:pt x="291" y="84"/>
                </a:lnTo>
                <a:lnTo>
                  <a:pt x="307" y="84"/>
                </a:lnTo>
                <a:lnTo>
                  <a:pt x="307" y="172"/>
                </a:lnTo>
                <a:lnTo>
                  <a:pt x="313" y="172"/>
                </a:lnTo>
                <a:lnTo>
                  <a:pt x="313" y="124"/>
                </a:lnTo>
                <a:lnTo>
                  <a:pt x="315" y="124"/>
                </a:lnTo>
                <a:lnTo>
                  <a:pt x="315" y="43"/>
                </a:lnTo>
                <a:lnTo>
                  <a:pt x="390" y="43"/>
                </a:lnTo>
                <a:lnTo>
                  <a:pt x="390" y="124"/>
                </a:lnTo>
                <a:lnTo>
                  <a:pt x="400" y="124"/>
                </a:lnTo>
                <a:lnTo>
                  <a:pt x="400" y="177"/>
                </a:lnTo>
                <a:lnTo>
                  <a:pt x="438" y="177"/>
                </a:lnTo>
                <a:lnTo>
                  <a:pt x="438" y="108"/>
                </a:lnTo>
                <a:lnTo>
                  <a:pt x="435" y="108"/>
                </a:lnTo>
                <a:lnTo>
                  <a:pt x="439" y="39"/>
                </a:lnTo>
                <a:lnTo>
                  <a:pt x="466" y="39"/>
                </a:lnTo>
                <a:lnTo>
                  <a:pt x="466" y="108"/>
                </a:lnTo>
                <a:lnTo>
                  <a:pt x="471" y="108"/>
                </a:lnTo>
                <a:lnTo>
                  <a:pt x="471" y="177"/>
                </a:lnTo>
                <a:lnTo>
                  <a:pt x="488" y="177"/>
                </a:lnTo>
                <a:lnTo>
                  <a:pt x="488" y="244"/>
                </a:lnTo>
                <a:lnTo>
                  <a:pt x="498" y="244"/>
                </a:lnTo>
                <a:lnTo>
                  <a:pt x="498" y="293"/>
                </a:lnTo>
                <a:lnTo>
                  <a:pt x="508" y="293"/>
                </a:lnTo>
                <a:lnTo>
                  <a:pt x="508" y="264"/>
                </a:lnTo>
                <a:lnTo>
                  <a:pt x="522" y="264"/>
                </a:lnTo>
                <a:lnTo>
                  <a:pt x="522" y="182"/>
                </a:lnTo>
                <a:lnTo>
                  <a:pt x="554" y="182"/>
                </a:lnTo>
                <a:lnTo>
                  <a:pt x="554" y="211"/>
                </a:lnTo>
                <a:lnTo>
                  <a:pt x="582" y="211"/>
                </a:lnTo>
                <a:lnTo>
                  <a:pt x="582" y="264"/>
                </a:lnTo>
                <a:lnTo>
                  <a:pt x="595" y="264"/>
                </a:lnTo>
                <a:lnTo>
                  <a:pt x="595" y="234"/>
                </a:lnTo>
                <a:lnTo>
                  <a:pt x="682" y="234"/>
                </a:lnTo>
                <a:lnTo>
                  <a:pt x="682" y="293"/>
                </a:lnTo>
                <a:lnTo>
                  <a:pt x="693" y="293"/>
                </a:lnTo>
                <a:lnTo>
                  <a:pt x="693" y="159"/>
                </a:lnTo>
                <a:lnTo>
                  <a:pt x="704" y="159"/>
                </a:lnTo>
                <a:lnTo>
                  <a:pt x="704" y="126"/>
                </a:lnTo>
                <a:lnTo>
                  <a:pt x="769" y="126"/>
                </a:lnTo>
                <a:lnTo>
                  <a:pt x="769" y="159"/>
                </a:lnTo>
                <a:lnTo>
                  <a:pt x="780" y="159"/>
                </a:lnTo>
                <a:lnTo>
                  <a:pt x="780" y="240"/>
                </a:lnTo>
                <a:lnTo>
                  <a:pt x="791" y="240"/>
                </a:lnTo>
                <a:lnTo>
                  <a:pt x="791" y="199"/>
                </a:lnTo>
                <a:lnTo>
                  <a:pt x="808" y="199"/>
                </a:lnTo>
                <a:lnTo>
                  <a:pt x="808" y="154"/>
                </a:lnTo>
                <a:lnTo>
                  <a:pt x="817" y="154"/>
                </a:lnTo>
                <a:lnTo>
                  <a:pt x="817" y="121"/>
                </a:lnTo>
                <a:lnTo>
                  <a:pt x="852" y="121"/>
                </a:lnTo>
                <a:lnTo>
                  <a:pt x="852" y="154"/>
                </a:lnTo>
                <a:lnTo>
                  <a:pt x="861" y="154"/>
                </a:lnTo>
                <a:lnTo>
                  <a:pt x="861" y="199"/>
                </a:lnTo>
                <a:lnTo>
                  <a:pt x="878" y="199"/>
                </a:lnTo>
                <a:lnTo>
                  <a:pt x="878" y="240"/>
                </a:lnTo>
                <a:lnTo>
                  <a:pt x="889" y="240"/>
                </a:lnTo>
                <a:lnTo>
                  <a:pt x="889" y="159"/>
                </a:lnTo>
                <a:lnTo>
                  <a:pt x="915" y="159"/>
                </a:lnTo>
                <a:lnTo>
                  <a:pt x="915" y="101"/>
                </a:lnTo>
                <a:lnTo>
                  <a:pt x="940" y="101"/>
                </a:lnTo>
                <a:lnTo>
                  <a:pt x="940" y="64"/>
                </a:lnTo>
                <a:lnTo>
                  <a:pt x="990" y="64"/>
                </a:lnTo>
                <a:lnTo>
                  <a:pt x="990" y="101"/>
                </a:lnTo>
                <a:lnTo>
                  <a:pt x="1015" y="101"/>
                </a:lnTo>
                <a:lnTo>
                  <a:pt x="1015" y="159"/>
                </a:lnTo>
                <a:lnTo>
                  <a:pt x="1041" y="159"/>
                </a:lnTo>
                <a:lnTo>
                  <a:pt x="1041" y="240"/>
                </a:lnTo>
                <a:lnTo>
                  <a:pt x="1053" y="240"/>
                </a:lnTo>
                <a:lnTo>
                  <a:pt x="1053" y="199"/>
                </a:lnTo>
                <a:lnTo>
                  <a:pt x="1069" y="199"/>
                </a:lnTo>
                <a:lnTo>
                  <a:pt x="1069" y="154"/>
                </a:lnTo>
                <a:lnTo>
                  <a:pt x="1079" y="154"/>
                </a:lnTo>
                <a:lnTo>
                  <a:pt x="1079" y="121"/>
                </a:lnTo>
                <a:lnTo>
                  <a:pt x="1113" y="121"/>
                </a:lnTo>
                <a:lnTo>
                  <a:pt x="1113" y="154"/>
                </a:lnTo>
                <a:lnTo>
                  <a:pt x="1123" y="154"/>
                </a:lnTo>
                <a:lnTo>
                  <a:pt x="1123" y="199"/>
                </a:lnTo>
                <a:lnTo>
                  <a:pt x="1140" y="199"/>
                </a:lnTo>
                <a:lnTo>
                  <a:pt x="1140" y="240"/>
                </a:lnTo>
                <a:lnTo>
                  <a:pt x="1150" y="240"/>
                </a:lnTo>
                <a:lnTo>
                  <a:pt x="1150" y="159"/>
                </a:lnTo>
                <a:lnTo>
                  <a:pt x="1161" y="159"/>
                </a:lnTo>
                <a:lnTo>
                  <a:pt x="1161" y="126"/>
                </a:lnTo>
                <a:lnTo>
                  <a:pt x="1227" y="126"/>
                </a:lnTo>
                <a:lnTo>
                  <a:pt x="1227" y="159"/>
                </a:lnTo>
                <a:lnTo>
                  <a:pt x="1237" y="159"/>
                </a:lnTo>
                <a:lnTo>
                  <a:pt x="1237" y="293"/>
                </a:lnTo>
                <a:lnTo>
                  <a:pt x="1248" y="293"/>
                </a:lnTo>
                <a:lnTo>
                  <a:pt x="1248" y="234"/>
                </a:lnTo>
                <a:lnTo>
                  <a:pt x="1335" y="234"/>
                </a:lnTo>
                <a:lnTo>
                  <a:pt x="1335" y="264"/>
                </a:lnTo>
                <a:lnTo>
                  <a:pt x="1348" y="264"/>
                </a:lnTo>
                <a:lnTo>
                  <a:pt x="1348" y="211"/>
                </a:lnTo>
                <a:lnTo>
                  <a:pt x="1377" y="211"/>
                </a:lnTo>
                <a:lnTo>
                  <a:pt x="1377" y="182"/>
                </a:lnTo>
                <a:lnTo>
                  <a:pt x="1408" y="182"/>
                </a:lnTo>
                <a:lnTo>
                  <a:pt x="1408" y="264"/>
                </a:lnTo>
                <a:lnTo>
                  <a:pt x="1422" y="264"/>
                </a:lnTo>
                <a:lnTo>
                  <a:pt x="1422" y="293"/>
                </a:lnTo>
                <a:lnTo>
                  <a:pt x="1433" y="293"/>
                </a:lnTo>
                <a:lnTo>
                  <a:pt x="1433" y="244"/>
                </a:lnTo>
                <a:lnTo>
                  <a:pt x="1443" y="244"/>
                </a:lnTo>
                <a:lnTo>
                  <a:pt x="1443" y="177"/>
                </a:lnTo>
                <a:lnTo>
                  <a:pt x="1459" y="177"/>
                </a:lnTo>
                <a:lnTo>
                  <a:pt x="1459" y="108"/>
                </a:lnTo>
                <a:lnTo>
                  <a:pt x="1465" y="108"/>
                </a:lnTo>
                <a:lnTo>
                  <a:pt x="1465" y="39"/>
                </a:lnTo>
                <a:lnTo>
                  <a:pt x="1492" y="39"/>
                </a:lnTo>
                <a:lnTo>
                  <a:pt x="1495" y="108"/>
                </a:lnTo>
                <a:lnTo>
                  <a:pt x="1492" y="108"/>
                </a:lnTo>
                <a:lnTo>
                  <a:pt x="1492" y="177"/>
                </a:lnTo>
                <a:lnTo>
                  <a:pt x="1531" y="177"/>
                </a:lnTo>
                <a:lnTo>
                  <a:pt x="1531" y="124"/>
                </a:lnTo>
                <a:lnTo>
                  <a:pt x="1540" y="124"/>
                </a:lnTo>
                <a:lnTo>
                  <a:pt x="1540" y="43"/>
                </a:lnTo>
                <a:lnTo>
                  <a:pt x="1616" y="43"/>
                </a:lnTo>
                <a:lnTo>
                  <a:pt x="1616" y="124"/>
                </a:lnTo>
                <a:lnTo>
                  <a:pt x="1618" y="124"/>
                </a:lnTo>
                <a:lnTo>
                  <a:pt x="1618" y="172"/>
                </a:lnTo>
                <a:lnTo>
                  <a:pt x="1624" y="172"/>
                </a:lnTo>
                <a:lnTo>
                  <a:pt x="1624" y="84"/>
                </a:lnTo>
                <a:lnTo>
                  <a:pt x="1639" y="84"/>
                </a:lnTo>
                <a:lnTo>
                  <a:pt x="1639" y="51"/>
                </a:lnTo>
                <a:lnTo>
                  <a:pt x="1645" y="51"/>
                </a:lnTo>
                <a:lnTo>
                  <a:pt x="1645" y="0"/>
                </a:lnTo>
                <a:lnTo>
                  <a:pt x="1695" y="0"/>
                </a:lnTo>
                <a:lnTo>
                  <a:pt x="1695" y="51"/>
                </a:lnTo>
                <a:lnTo>
                  <a:pt x="1700" y="51"/>
                </a:lnTo>
                <a:lnTo>
                  <a:pt x="1700" y="84"/>
                </a:lnTo>
                <a:lnTo>
                  <a:pt x="1716" y="84"/>
                </a:lnTo>
                <a:lnTo>
                  <a:pt x="1716" y="243"/>
                </a:lnTo>
                <a:lnTo>
                  <a:pt x="1726" y="243"/>
                </a:lnTo>
                <a:lnTo>
                  <a:pt x="1726" y="159"/>
                </a:lnTo>
                <a:lnTo>
                  <a:pt x="1735" y="159"/>
                </a:lnTo>
                <a:lnTo>
                  <a:pt x="1735" y="132"/>
                </a:lnTo>
                <a:lnTo>
                  <a:pt x="1743" y="132"/>
                </a:lnTo>
                <a:lnTo>
                  <a:pt x="1743" y="105"/>
                </a:lnTo>
                <a:lnTo>
                  <a:pt x="1759" y="105"/>
                </a:lnTo>
                <a:lnTo>
                  <a:pt x="1759" y="78"/>
                </a:lnTo>
                <a:lnTo>
                  <a:pt x="1782" y="78"/>
                </a:lnTo>
                <a:lnTo>
                  <a:pt x="1782" y="105"/>
                </a:lnTo>
                <a:lnTo>
                  <a:pt x="1799" y="105"/>
                </a:lnTo>
                <a:lnTo>
                  <a:pt x="1799" y="132"/>
                </a:lnTo>
                <a:lnTo>
                  <a:pt x="1806" y="132"/>
                </a:lnTo>
                <a:lnTo>
                  <a:pt x="1806" y="159"/>
                </a:lnTo>
                <a:lnTo>
                  <a:pt x="1813" y="159"/>
                </a:lnTo>
                <a:lnTo>
                  <a:pt x="1813" y="293"/>
                </a:lnTo>
                <a:lnTo>
                  <a:pt x="1823" y="293"/>
                </a:lnTo>
                <a:lnTo>
                  <a:pt x="1823" y="264"/>
                </a:lnTo>
                <a:lnTo>
                  <a:pt x="1836" y="264"/>
                </a:lnTo>
                <a:lnTo>
                  <a:pt x="1836" y="211"/>
                </a:lnTo>
                <a:lnTo>
                  <a:pt x="1896" y="211"/>
                </a:lnTo>
                <a:lnTo>
                  <a:pt x="1896" y="264"/>
                </a:lnTo>
                <a:lnTo>
                  <a:pt x="1909" y="264"/>
                </a:lnTo>
                <a:lnTo>
                  <a:pt x="1909" y="293"/>
                </a:lnTo>
                <a:lnTo>
                  <a:pt x="1921" y="293"/>
                </a:lnTo>
                <a:lnTo>
                  <a:pt x="1921" y="180"/>
                </a:lnTo>
                <a:lnTo>
                  <a:pt x="1921" y="180"/>
                </a:lnTo>
                <a:lnTo>
                  <a:pt x="1921" y="122"/>
                </a:lnTo>
                <a:lnTo>
                  <a:pt x="1989" y="122"/>
                </a:lnTo>
                <a:lnTo>
                  <a:pt x="1989" y="159"/>
                </a:lnTo>
                <a:lnTo>
                  <a:pt x="2008" y="159"/>
                </a:lnTo>
                <a:lnTo>
                  <a:pt x="2008" y="253"/>
                </a:lnTo>
                <a:lnTo>
                  <a:pt x="2019" y="253"/>
                </a:lnTo>
                <a:lnTo>
                  <a:pt x="2019" y="224"/>
                </a:lnTo>
                <a:lnTo>
                  <a:pt x="2019" y="224"/>
                </a:lnTo>
                <a:lnTo>
                  <a:pt x="2019" y="161"/>
                </a:lnTo>
                <a:lnTo>
                  <a:pt x="2038" y="174"/>
                </a:lnTo>
                <a:lnTo>
                  <a:pt x="2038" y="134"/>
                </a:lnTo>
                <a:lnTo>
                  <a:pt x="2086" y="134"/>
                </a:lnTo>
                <a:lnTo>
                  <a:pt x="2086" y="174"/>
                </a:lnTo>
                <a:lnTo>
                  <a:pt x="2106" y="161"/>
                </a:lnTo>
                <a:lnTo>
                  <a:pt x="2106" y="218"/>
                </a:lnTo>
                <a:lnTo>
                  <a:pt x="2116" y="218"/>
                </a:lnTo>
                <a:lnTo>
                  <a:pt x="2116" y="159"/>
                </a:lnTo>
                <a:lnTo>
                  <a:pt x="2127" y="159"/>
                </a:lnTo>
                <a:lnTo>
                  <a:pt x="2127" y="126"/>
                </a:lnTo>
                <a:lnTo>
                  <a:pt x="2140" y="126"/>
                </a:lnTo>
                <a:lnTo>
                  <a:pt x="2140" y="90"/>
                </a:lnTo>
                <a:lnTo>
                  <a:pt x="2182" y="90"/>
                </a:lnTo>
                <a:lnTo>
                  <a:pt x="2182" y="126"/>
                </a:lnTo>
                <a:lnTo>
                  <a:pt x="2193" y="126"/>
                </a:lnTo>
                <a:lnTo>
                  <a:pt x="2193" y="159"/>
                </a:lnTo>
                <a:lnTo>
                  <a:pt x="2203" y="159"/>
                </a:lnTo>
                <a:lnTo>
                  <a:pt x="2203" y="260"/>
                </a:lnTo>
                <a:lnTo>
                  <a:pt x="2214" y="260"/>
                </a:lnTo>
                <a:lnTo>
                  <a:pt x="2214" y="234"/>
                </a:lnTo>
                <a:lnTo>
                  <a:pt x="2236" y="234"/>
                </a:lnTo>
                <a:lnTo>
                  <a:pt x="2236" y="176"/>
                </a:lnTo>
                <a:lnTo>
                  <a:pt x="2255" y="176"/>
                </a:lnTo>
                <a:lnTo>
                  <a:pt x="2255" y="125"/>
                </a:lnTo>
                <a:lnTo>
                  <a:pt x="2263" y="125"/>
                </a:lnTo>
                <a:lnTo>
                  <a:pt x="2263" y="176"/>
                </a:lnTo>
                <a:lnTo>
                  <a:pt x="2281" y="176"/>
                </a:lnTo>
                <a:lnTo>
                  <a:pt x="2281" y="234"/>
                </a:lnTo>
                <a:lnTo>
                  <a:pt x="2301" y="2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grpSp>
        <p:nvGrpSpPr>
          <p:cNvPr id="16" name="Group 15">
            <a:extLst>
              <a:ext uri="{FF2B5EF4-FFF2-40B4-BE49-F238E27FC236}">
                <a16:creationId xmlns:a16="http://schemas.microsoft.com/office/drawing/2014/main" id="{E4A0A9EA-1D72-4B03-B077-A762734DCADB}"/>
              </a:ext>
            </a:extLst>
          </p:cNvPr>
          <p:cNvGrpSpPr/>
          <p:nvPr userDrawn="1"/>
        </p:nvGrpSpPr>
        <p:grpSpPr>
          <a:xfrm>
            <a:off x="8203269" y="2925967"/>
            <a:ext cx="2361568" cy="2089069"/>
            <a:chOff x="8219218" y="1658816"/>
            <a:chExt cx="3816414" cy="3146214"/>
          </a:xfrm>
        </p:grpSpPr>
        <p:sp>
          <p:nvSpPr>
            <p:cNvPr id="17" name="Rectangle 117">
              <a:extLst>
                <a:ext uri="{FF2B5EF4-FFF2-40B4-BE49-F238E27FC236}">
                  <a16:creationId xmlns:a16="http://schemas.microsoft.com/office/drawing/2014/main" id="{152D6DEB-F313-4840-9689-F5E120073005}"/>
                </a:ext>
              </a:extLst>
            </p:cNvPr>
            <p:cNvSpPr>
              <a:spLocks noChangeArrowheads="1"/>
            </p:cNvSpPr>
            <p:nvPr userDrawn="1"/>
          </p:nvSpPr>
          <p:spPr bwMode="auto">
            <a:xfrm>
              <a:off x="11474472" y="2182741"/>
              <a:ext cx="2660" cy="266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8" name="Freeform 118">
              <a:extLst>
                <a:ext uri="{FF2B5EF4-FFF2-40B4-BE49-F238E27FC236}">
                  <a16:creationId xmlns:a16="http://schemas.microsoft.com/office/drawing/2014/main" id="{47EE5AC8-4E33-401B-A686-655AC85D8F06}"/>
                </a:ext>
              </a:extLst>
            </p:cNvPr>
            <p:cNvSpPr>
              <a:spLocks/>
            </p:cNvSpPr>
            <p:nvPr userDrawn="1"/>
          </p:nvSpPr>
          <p:spPr bwMode="auto">
            <a:xfrm>
              <a:off x="8860164" y="2653477"/>
              <a:ext cx="2287188" cy="2029215"/>
            </a:xfrm>
            <a:custGeom>
              <a:avLst/>
              <a:gdLst>
                <a:gd name="T0" fmla="*/ 162 w 590"/>
                <a:gd name="T1" fmla="*/ 526 h 526"/>
                <a:gd name="T2" fmla="*/ 0 w 590"/>
                <a:gd name="T3" fmla="*/ 526 h 526"/>
                <a:gd name="T4" fmla="*/ 0 w 590"/>
                <a:gd name="T5" fmla="*/ 514 h 526"/>
                <a:gd name="T6" fmla="*/ 162 w 590"/>
                <a:gd name="T7" fmla="*/ 514 h 526"/>
                <a:gd name="T8" fmla="*/ 241 w 590"/>
                <a:gd name="T9" fmla="*/ 434 h 526"/>
                <a:gd name="T10" fmla="*/ 241 w 590"/>
                <a:gd name="T11" fmla="*/ 283 h 526"/>
                <a:gd name="T12" fmla="*/ 333 w 590"/>
                <a:gd name="T13" fmla="*/ 192 h 526"/>
                <a:gd name="T14" fmla="*/ 499 w 590"/>
                <a:gd name="T15" fmla="*/ 192 h 526"/>
                <a:gd name="T16" fmla="*/ 578 w 590"/>
                <a:gd name="T17" fmla="*/ 112 h 526"/>
                <a:gd name="T18" fmla="*/ 578 w 590"/>
                <a:gd name="T19" fmla="*/ 0 h 526"/>
                <a:gd name="T20" fmla="*/ 590 w 590"/>
                <a:gd name="T21" fmla="*/ 0 h 526"/>
                <a:gd name="T22" fmla="*/ 590 w 590"/>
                <a:gd name="T23" fmla="*/ 112 h 526"/>
                <a:gd name="T24" fmla="*/ 499 w 590"/>
                <a:gd name="T25" fmla="*/ 204 h 526"/>
                <a:gd name="T26" fmla="*/ 333 w 590"/>
                <a:gd name="T27" fmla="*/ 204 h 526"/>
                <a:gd name="T28" fmla="*/ 253 w 590"/>
                <a:gd name="T29" fmla="*/ 283 h 526"/>
                <a:gd name="T30" fmla="*/ 253 w 590"/>
                <a:gd name="T31" fmla="*/ 434 h 526"/>
                <a:gd name="T32" fmla="*/ 162 w 590"/>
                <a:gd name="T33" fmla="*/ 526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90" h="526">
                  <a:moveTo>
                    <a:pt x="162" y="526"/>
                  </a:moveTo>
                  <a:cubicBezTo>
                    <a:pt x="0" y="526"/>
                    <a:pt x="0" y="526"/>
                    <a:pt x="0" y="526"/>
                  </a:cubicBezTo>
                  <a:cubicBezTo>
                    <a:pt x="0" y="514"/>
                    <a:pt x="0" y="514"/>
                    <a:pt x="0" y="514"/>
                  </a:cubicBezTo>
                  <a:cubicBezTo>
                    <a:pt x="162" y="514"/>
                    <a:pt x="162" y="514"/>
                    <a:pt x="162" y="514"/>
                  </a:cubicBezTo>
                  <a:cubicBezTo>
                    <a:pt x="206" y="514"/>
                    <a:pt x="241" y="478"/>
                    <a:pt x="241" y="434"/>
                  </a:cubicBezTo>
                  <a:cubicBezTo>
                    <a:pt x="241" y="283"/>
                    <a:pt x="241" y="283"/>
                    <a:pt x="241" y="283"/>
                  </a:cubicBezTo>
                  <a:cubicBezTo>
                    <a:pt x="241" y="233"/>
                    <a:pt x="282" y="192"/>
                    <a:pt x="333" y="192"/>
                  </a:cubicBezTo>
                  <a:cubicBezTo>
                    <a:pt x="499" y="192"/>
                    <a:pt x="499" y="192"/>
                    <a:pt x="499" y="192"/>
                  </a:cubicBezTo>
                  <a:cubicBezTo>
                    <a:pt x="542" y="192"/>
                    <a:pt x="578" y="156"/>
                    <a:pt x="578" y="112"/>
                  </a:cubicBezTo>
                  <a:cubicBezTo>
                    <a:pt x="578" y="0"/>
                    <a:pt x="578" y="0"/>
                    <a:pt x="578" y="0"/>
                  </a:cubicBezTo>
                  <a:cubicBezTo>
                    <a:pt x="590" y="0"/>
                    <a:pt x="590" y="0"/>
                    <a:pt x="590" y="0"/>
                  </a:cubicBezTo>
                  <a:cubicBezTo>
                    <a:pt x="590" y="112"/>
                    <a:pt x="590" y="112"/>
                    <a:pt x="590" y="112"/>
                  </a:cubicBezTo>
                  <a:cubicBezTo>
                    <a:pt x="590" y="163"/>
                    <a:pt x="549" y="204"/>
                    <a:pt x="499" y="204"/>
                  </a:cubicBezTo>
                  <a:cubicBezTo>
                    <a:pt x="333" y="204"/>
                    <a:pt x="333" y="204"/>
                    <a:pt x="333" y="204"/>
                  </a:cubicBezTo>
                  <a:cubicBezTo>
                    <a:pt x="289" y="204"/>
                    <a:pt x="253" y="239"/>
                    <a:pt x="253" y="283"/>
                  </a:cubicBezTo>
                  <a:cubicBezTo>
                    <a:pt x="253" y="434"/>
                    <a:pt x="253" y="434"/>
                    <a:pt x="253" y="434"/>
                  </a:cubicBezTo>
                  <a:cubicBezTo>
                    <a:pt x="253" y="485"/>
                    <a:pt x="212" y="526"/>
                    <a:pt x="162" y="5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 name="Freeform 119">
              <a:extLst>
                <a:ext uri="{FF2B5EF4-FFF2-40B4-BE49-F238E27FC236}">
                  <a16:creationId xmlns:a16="http://schemas.microsoft.com/office/drawing/2014/main" id="{FA277C21-003B-4A3A-8D1B-1FE9E3B81F4A}"/>
                </a:ext>
              </a:extLst>
            </p:cNvPr>
            <p:cNvSpPr>
              <a:spLocks/>
            </p:cNvSpPr>
            <p:nvPr userDrawn="1"/>
          </p:nvSpPr>
          <p:spPr bwMode="auto">
            <a:xfrm>
              <a:off x="10213859" y="1658816"/>
              <a:ext cx="1821773" cy="1021256"/>
            </a:xfrm>
            <a:custGeom>
              <a:avLst/>
              <a:gdLst>
                <a:gd name="T0" fmla="*/ 194 w 470"/>
                <a:gd name="T1" fmla="*/ 52 h 265"/>
                <a:gd name="T2" fmla="*/ 283 w 470"/>
                <a:gd name="T3" fmla="*/ 0 h 265"/>
                <a:gd name="T4" fmla="*/ 386 w 470"/>
                <a:gd name="T5" fmla="*/ 101 h 265"/>
                <a:gd name="T6" fmla="*/ 387 w 470"/>
                <a:gd name="T7" fmla="*/ 101 h 265"/>
                <a:gd name="T8" fmla="*/ 470 w 470"/>
                <a:gd name="T9" fmla="*/ 183 h 265"/>
                <a:gd name="T10" fmla="*/ 387 w 470"/>
                <a:gd name="T11" fmla="*/ 265 h 265"/>
                <a:gd name="T12" fmla="*/ 66 w 470"/>
                <a:gd name="T13" fmla="*/ 265 h 265"/>
                <a:gd name="T14" fmla="*/ 0 w 470"/>
                <a:gd name="T15" fmla="*/ 200 h 265"/>
                <a:gd name="T16" fmla="*/ 64 w 470"/>
                <a:gd name="T17" fmla="*/ 134 h 265"/>
                <a:gd name="T18" fmla="*/ 63 w 470"/>
                <a:gd name="T19" fmla="*/ 118 h 265"/>
                <a:gd name="T20" fmla="*/ 145 w 470"/>
                <a:gd name="T21" fmla="*/ 35 h 265"/>
                <a:gd name="T22" fmla="*/ 194 w 470"/>
                <a:gd name="T23" fmla="*/ 5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65">
                  <a:moveTo>
                    <a:pt x="194" y="52"/>
                  </a:moveTo>
                  <a:cubicBezTo>
                    <a:pt x="212" y="21"/>
                    <a:pt x="245" y="0"/>
                    <a:pt x="283" y="0"/>
                  </a:cubicBezTo>
                  <a:cubicBezTo>
                    <a:pt x="340" y="0"/>
                    <a:pt x="385" y="45"/>
                    <a:pt x="386" y="101"/>
                  </a:cubicBezTo>
                  <a:cubicBezTo>
                    <a:pt x="387" y="101"/>
                    <a:pt x="387" y="101"/>
                    <a:pt x="387" y="101"/>
                  </a:cubicBezTo>
                  <a:cubicBezTo>
                    <a:pt x="433" y="101"/>
                    <a:pt x="470" y="138"/>
                    <a:pt x="470" y="183"/>
                  </a:cubicBezTo>
                  <a:cubicBezTo>
                    <a:pt x="470" y="229"/>
                    <a:pt x="433" y="265"/>
                    <a:pt x="387" y="265"/>
                  </a:cubicBezTo>
                  <a:cubicBezTo>
                    <a:pt x="66" y="265"/>
                    <a:pt x="66" y="265"/>
                    <a:pt x="66" y="265"/>
                  </a:cubicBezTo>
                  <a:cubicBezTo>
                    <a:pt x="30" y="265"/>
                    <a:pt x="0" y="236"/>
                    <a:pt x="0" y="200"/>
                  </a:cubicBezTo>
                  <a:cubicBezTo>
                    <a:pt x="0" y="164"/>
                    <a:pt x="29" y="135"/>
                    <a:pt x="64" y="134"/>
                  </a:cubicBezTo>
                  <a:cubicBezTo>
                    <a:pt x="63" y="129"/>
                    <a:pt x="63" y="123"/>
                    <a:pt x="63" y="118"/>
                  </a:cubicBezTo>
                  <a:cubicBezTo>
                    <a:pt x="63" y="72"/>
                    <a:pt x="99" y="35"/>
                    <a:pt x="145" y="35"/>
                  </a:cubicBezTo>
                  <a:cubicBezTo>
                    <a:pt x="163" y="35"/>
                    <a:pt x="180" y="41"/>
                    <a:pt x="194" y="5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0" name="Freeform 120">
              <a:extLst>
                <a:ext uri="{FF2B5EF4-FFF2-40B4-BE49-F238E27FC236}">
                  <a16:creationId xmlns:a16="http://schemas.microsoft.com/office/drawing/2014/main" id="{30DBB117-27A2-40E1-B084-487DC0D15B7C}"/>
                </a:ext>
              </a:extLst>
            </p:cNvPr>
            <p:cNvSpPr>
              <a:spLocks/>
            </p:cNvSpPr>
            <p:nvPr userDrawn="1"/>
          </p:nvSpPr>
          <p:spPr bwMode="auto">
            <a:xfrm>
              <a:off x="10277688" y="2076360"/>
              <a:ext cx="1757944" cy="603712"/>
            </a:xfrm>
            <a:custGeom>
              <a:avLst/>
              <a:gdLst>
                <a:gd name="T0" fmla="*/ 405 w 454"/>
                <a:gd name="T1" fmla="*/ 0 h 157"/>
                <a:gd name="T2" fmla="*/ 428 w 454"/>
                <a:gd name="T3" fmla="*/ 57 h 157"/>
                <a:gd name="T4" fmla="*/ 346 w 454"/>
                <a:gd name="T5" fmla="*/ 139 h 157"/>
                <a:gd name="T6" fmla="*/ 24 w 454"/>
                <a:gd name="T7" fmla="*/ 139 h 157"/>
                <a:gd name="T8" fmla="*/ 0 w 454"/>
                <a:gd name="T9" fmla="*/ 135 h 157"/>
                <a:gd name="T10" fmla="*/ 50 w 454"/>
                <a:gd name="T11" fmla="*/ 157 h 157"/>
                <a:gd name="T12" fmla="*/ 371 w 454"/>
                <a:gd name="T13" fmla="*/ 157 h 157"/>
                <a:gd name="T14" fmla="*/ 454 w 454"/>
                <a:gd name="T15" fmla="*/ 75 h 157"/>
                <a:gd name="T16" fmla="*/ 405 w 454"/>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157">
                  <a:moveTo>
                    <a:pt x="405" y="0"/>
                  </a:moveTo>
                  <a:cubicBezTo>
                    <a:pt x="420" y="15"/>
                    <a:pt x="428" y="35"/>
                    <a:pt x="428" y="57"/>
                  </a:cubicBezTo>
                  <a:cubicBezTo>
                    <a:pt x="428" y="102"/>
                    <a:pt x="391" y="139"/>
                    <a:pt x="346" y="139"/>
                  </a:cubicBezTo>
                  <a:cubicBezTo>
                    <a:pt x="24" y="139"/>
                    <a:pt x="24" y="139"/>
                    <a:pt x="24" y="139"/>
                  </a:cubicBezTo>
                  <a:cubicBezTo>
                    <a:pt x="16" y="139"/>
                    <a:pt x="8" y="138"/>
                    <a:pt x="0" y="135"/>
                  </a:cubicBezTo>
                  <a:cubicBezTo>
                    <a:pt x="12" y="149"/>
                    <a:pt x="30" y="157"/>
                    <a:pt x="50" y="157"/>
                  </a:cubicBezTo>
                  <a:cubicBezTo>
                    <a:pt x="371" y="157"/>
                    <a:pt x="371" y="157"/>
                    <a:pt x="371" y="157"/>
                  </a:cubicBezTo>
                  <a:cubicBezTo>
                    <a:pt x="417" y="157"/>
                    <a:pt x="454" y="121"/>
                    <a:pt x="454" y="75"/>
                  </a:cubicBezTo>
                  <a:cubicBezTo>
                    <a:pt x="454" y="42"/>
                    <a:pt x="434" y="13"/>
                    <a:pt x="405"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1" name="Freeform 121">
              <a:extLst>
                <a:ext uri="{FF2B5EF4-FFF2-40B4-BE49-F238E27FC236}">
                  <a16:creationId xmlns:a16="http://schemas.microsoft.com/office/drawing/2014/main" id="{A979BB99-0B05-4B6E-BF6C-40B84C979F6D}"/>
                </a:ext>
              </a:extLst>
            </p:cNvPr>
            <p:cNvSpPr>
              <a:spLocks/>
            </p:cNvSpPr>
            <p:nvPr userDrawn="1"/>
          </p:nvSpPr>
          <p:spPr bwMode="auto">
            <a:xfrm>
              <a:off x="8219218" y="4560352"/>
              <a:ext cx="119679" cy="196804"/>
            </a:xfrm>
            <a:custGeom>
              <a:avLst/>
              <a:gdLst>
                <a:gd name="T0" fmla="*/ 22 w 31"/>
                <a:gd name="T1" fmla="*/ 0 h 51"/>
                <a:gd name="T2" fmla="*/ 0 w 31"/>
                <a:gd name="T3" fmla="*/ 0 h 51"/>
                <a:gd name="T4" fmla="*/ 0 w 31"/>
                <a:gd name="T5" fmla="*/ 51 h 51"/>
                <a:gd name="T6" fmla="*/ 22 w 31"/>
                <a:gd name="T7" fmla="*/ 51 h 51"/>
                <a:gd name="T8" fmla="*/ 31 w 31"/>
                <a:gd name="T9" fmla="*/ 43 h 51"/>
                <a:gd name="T10" fmla="*/ 31 w 31"/>
                <a:gd name="T11" fmla="*/ 9 h 51"/>
                <a:gd name="T12" fmla="*/ 22 w 31"/>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31" h="51">
                  <a:moveTo>
                    <a:pt x="22" y="0"/>
                  </a:moveTo>
                  <a:cubicBezTo>
                    <a:pt x="0" y="0"/>
                    <a:pt x="0" y="0"/>
                    <a:pt x="0" y="0"/>
                  </a:cubicBezTo>
                  <a:cubicBezTo>
                    <a:pt x="0" y="51"/>
                    <a:pt x="0" y="51"/>
                    <a:pt x="0" y="51"/>
                  </a:cubicBezTo>
                  <a:cubicBezTo>
                    <a:pt x="22" y="51"/>
                    <a:pt x="22" y="51"/>
                    <a:pt x="22" y="51"/>
                  </a:cubicBezTo>
                  <a:cubicBezTo>
                    <a:pt x="27" y="51"/>
                    <a:pt x="31" y="48"/>
                    <a:pt x="31" y="43"/>
                  </a:cubicBezTo>
                  <a:cubicBezTo>
                    <a:pt x="31" y="9"/>
                    <a:pt x="31" y="9"/>
                    <a:pt x="31" y="9"/>
                  </a:cubicBezTo>
                  <a:cubicBezTo>
                    <a:pt x="31" y="4"/>
                    <a:pt x="27" y="0"/>
                    <a:pt x="2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2" name="Freeform 122">
              <a:extLst>
                <a:ext uri="{FF2B5EF4-FFF2-40B4-BE49-F238E27FC236}">
                  <a16:creationId xmlns:a16="http://schemas.microsoft.com/office/drawing/2014/main" id="{5CBBC5E3-D11E-4195-A716-BA2A2BB03558}"/>
                </a:ext>
              </a:extLst>
            </p:cNvPr>
            <p:cNvSpPr>
              <a:spLocks/>
            </p:cNvSpPr>
            <p:nvPr userDrawn="1"/>
          </p:nvSpPr>
          <p:spPr bwMode="auto">
            <a:xfrm>
              <a:off x="8860164" y="4597585"/>
              <a:ext cx="101062" cy="119679"/>
            </a:xfrm>
            <a:custGeom>
              <a:avLst/>
              <a:gdLst>
                <a:gd name="T0" fmla="*/ 11 w 26"/>
                <a:gd name="T1" fmla="*/ 31 h 31"/>
                <a:gd name="T2" fmla="*/ 26 w 26"/>
                <a:gd name="T3" fmla="*/ 16 h 31"/>
                <a:gd name="T4" fmla="*/ 11 w 26"/>
                <a:gd name="T5" fmla="*/ 0 h 31"/>
                <a:gd name="T6" fmla="*/ 0 w 26"/>
                <a:gd name="T7" fmla="*/ 0 h 31"/>
                <a:gd name="T8" fmla="*/ 0 w 26"/>
                <a:gd name="T9" fmla="*/ 31 h 31"/>
                <a:gd name="T10" fmla="*/ 11 w 26"/>
                <a:gd name="T11" fmla="*/ 31 h 31"/>
              </a:gdLst>
              <a:ahLst/>
              <a:cxnLst>
                <a:cxn ang="0">
                  <a:pos x="T0" y="T1"/>
                </a:cxn>
                <a:cxn ang="0">
                  <a:pos x="T2" y="T3"/>
                </a:cxn>
                <a:cxn ang="0">
                  <a:pos x="T4" y="T5"/>
                </a:cxn>
                <a:cxn ang="0">
                  <a:pos x="T6" y="T7"/>
                </a:cxn>
                <a:cxn ang="0">
                  <a:pos x="T8" y="T9"/>
                </a:cxn>
                <a:cxn ang="0">
                  <a:pos x="T10" y="T11"/>
                </a:cxn>
              </a:cxnLst>
              <a:rect l="0" t="0" r="r" b="b"/>
              <a:pathLst>
                <a:path w="26" h="31">
                  <a:moveTo>
                    <a:pt x="11" y="31"/>
                  </a:moveTo>
                  <a:cubicBezTo>
                    <a:pt x="19" y="31"/>
                    <a:pt x="26" y="24"/>
                    <a:pt x="26" y="16"/>
                  </a:cubicBezTo>
                  <a:cubicBezTo>
                    <a:pt x="26" y="7"/>
                    <a:pt x="19" y="0"/>
                    <a:pt x="11" y="0"/>
                  </a:cubicBezTo>
                  <a:cubicBezTo>
                    <a:pt x="0" y="0"/>
                    <a:pt x="0" y="0"/>
                    <a:pt x="0" y="0"/>
                  </a:cubicBezTo>
                  <a:cubicBezTo>
                    <a:pt x="0" y="31"/>
                    <a:pt x="0" y="31"/>
                    <a:pt x="0" y="31"/>
                  </a:cubicBezTo>
                  <a:lnTo>
                    <a:pt x="11" y="3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3" name="Freeform 123">
              <a:extLst>
                <a:ext uri="{FF2B5EF4-FFF2-40B4-BE49-F238E27FC236}">
                  <a16:creationId xmlns:a16="http://schemas.microsoft.com/office/drawing/2014/main" id="{662702DC-698E-454A-8ED3-DE28379639FF}"/>
                </a:ext>
              </a:extLst>
            </p:cNvPr>
            <p:cNvSpPr>
              <a:spLocks/>
            </p:cNvSpPr>
            <p:nvPr userDrawn="1"/>
          </p:nvSpPr>
          <p:spPr bwMode="auto">
            <a:xfrm>
              <a:off x="8267090" y="4509822"/>
              <a:ext cx="598393" cy="295208"/>
            </a:xfrm>
            <a:custGeom>
              <a:avLst/>
              <a:gdLst>
                <a:gd name="T0" fmla="*/ 154 w 154"/>
                <a:gd name="T1" fmla="*/ 23 h 77"/>
                <a:gd name="T2" fmla="*/ 121 w 154"/>
                <a:gd name="T3" fmla="*/ 4 h 77"/>
                <a:gd name="T4" fmla="*/ 105 w 154"/>
                <a:gd name="T5" fmla="*/ 0 h 77"/>
                <a:gd name="T6" fmla="*/ 8 w 154"/>
                <a:gd name="T7" fmla="*/ 0 h 77"/>
                <a:gd name="T8" fmla="*/ 0 w 154"/>
                <a:gd name="T9" fmla="*/ 9 h 77"/>
                <a:gd name="T10" fmla="*/ 0 w 154"/>
                <a:gd name="T11" fmla="*/ 68 h 77"/>
                <a:gd name="T12" fmla="*/ 8 w 154"/>
                <a:gd name="T13" fmla="*/ 77 h 77"/>
                <a:gd name="T14" fmla="*/ 105 w 154"/>
                <a:gd name="T15" fmla="*/ 77 h 77"/>
                <a:gd name="T16" fmla="*/ 121 w 154"/>
                <a:gd name="T17" fmla="*/ 73 h 77"/>
                <a:gd name="T18" fmla="*/ 154 w 154"/>
                <a:gd name="T19" fmla="*/ 54 h 77"/>
                <a:gd name="T20" fmla="*/ 154 w 154"/>
                <a:gd name="T21" fmla="*/ 23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4" h="77">
                  <a:moveTo>
                    <a:pt x="154" y="23"/>
                  </a:moveTo>
                  <a:cubicBezTo>
                    <a:pt x="121" y="4"/>
                    <a:pt x="121" y="4"/>
                    <a:pt x="121" y="4"/>
                  </a:cubicBezTo>
                  <a:cubicBezTo>
                    <a:pt x="117" y="2"/>
                    <a:pt x="110" y="0"/>
                    <a:pt x="105" y="0"/>
                  </a:cubicBezTo>
                  <a:cubicBezTo>
                    <a:pt x="8" y="0"/>
                    <a:pt x="8" y="0"/>
                    <a:pt x="8" y="0"/>
                  </a:cubicBezTo>
                  <a:cubicBezTo>
                    <a:pt x="4" y="0"/>
                    <a:pt x="0" y="4"/>
                    <a:pt x="0" y="9"/>
                  </a:cubicBezTo>
                  <a:cubicBezTo>
                    <a:pt x="0" y="68"/>
                    <a:pt x="0" y="68"/>
                    <a:pt x="0" y="68"/>
                  </a:cubicBezTo>
                  <a:cubicBezTo>
                    <a:pt x="0" y="73"/>
                    <a:pt x="4" y="77"/>
                    <a:pt x="8" y="77"/>
                  </a:cubicBezTo>
                  <a:cubicBezTo>
                    <a:pt x="105" y="77"/>
                    <a:pt x="105" y="77"/>
                    <a:pt x="105" y="77"/>
                  </a:cubicBezTo>
                  <a:cubicBezTo>
                    <a:pt x="110" y="77"/>
                    <a:pt x="117" y="75"/>
                    <a:pt x="121" y="73"/>
                  </a:cubicBezTo>
                  <a:cubicBezTo>
                    <a:pt x="154" y="54"/>
                    <a:pt x="154" y="54"/>
                    <a:pt x="154" y="54"/>
                  </a:cubicBezTo>
                  <a:lnTo>
                    <a:pt x="154" y="23"/>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4" name="Freeform 124">
              <a:extLst>
                <a:ext uri="{FF2B5EF4-FFF2-40B4-BE49-F238E27FC236}">
                  <a16:creationId xmlns:a16="http://schemas.microsoft.com/office/drawing/2014/main" id="{2F26795F-DD2F-495C-B65F-D1743C314C12}"/>
                </a:ext>
              </a:extLst>
            </p:cNvPr>
            <p:cNvSpPr>
              <a:spLocks/>
            </p:cNvSpPr>
            <p:nvPr userDrawn="1"/>
          </p:nvSpPr>
          <p:spPr bwMode="auto">
            <a:xfrm>
              <a:off x="8267090" y="4512480"/>
              <a:ext cx="598393" cy="292547"/>
            </a:xfrm>
            <a:custGeom>
              <a:avLst/>
              <a:gdLst>
                <a:gd name="T0" fmla="*/ 5 w 154"/>
                <a:gd name="T1" fmla="*/ 0 h 76"/>
                <a:gd name="T2" fmla="*/ 5 w 154"/>
                <a:gd name="T3" fmla="*/ 59 h 76"/>
                <a:gd name="T4" fmla="*/ 13 w 154"/>
                <a:gd name="T5" fmla="*/ 67 h 76"/>
                <a:gd name="T6" fmla="*/ 110 w 154"/>
                <a:gd name="T7" fmla="*/ 67 h 76"/>
                <a:gd name="T8" fmla="*/ 126 w 154"/>
                <a:gd name="T9" fmla="*/ 64 h 76"/>
                <a:gd name="T10" fmla="*/ 154 w 154"/>
                <a:gd name="T11" fmla="*/ 47 h 76"/>
                <a:gd name="T12" fmla="*/ 154 w 154"/>
                <a:gd name="T13" fmla="*/ 53 h 76"/>
                <a:gd name="T14" fmla="*/ 121 w 154"/>
                <a:gd name="T15" fmla="*/ 72 h 76"/>
                <a:gd name="T16" fmla="*/ 105 w 154"/>
                <a:gd name="T17" fmla="*/ 76 h 76"/>
                <a:gd name="T18" fmla="*/ 8 w 154"/>
                <a:gd name="T19" fmla="*/ 76 h 76"/>
                <a:gd name="T20" fmla="*/ 0 w 154"/>
                <a:gd name="T21" fmla="*/ 67 h 76"/>
                <a:gd name="T22" fmla="*/ 0 w 154"/>
                <a:gd name="T23" fmla="*/ 8 h 76"/>
                <a:gd name="T24" fmla="*/ 5 w 154"/>
                <a:gd name="T2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4" h="76">
                  <a:moveTo>
                    <a:pt x="5" y="0"/>
                  </a:moveTo>
                  <a:cubicBezTo>
                    <a:pt x="5" y="59"/>
                    <a:pt x="5" y="59"/>
                    <a:pt x="5" y="59"/>
                  </a:cubicBezTo>
                  <a:cubicBezTo>
                    <a:pt x="5" y="64"/>
                    <a:pt x="9" y="67"/>
                    <a:pt x="13" y="67"/>
                  </a:cubicBezTo>
                  <a:cubicBezTo>
                    <a:pt x="110" y="67"/>
                    <a:pt x="110" y="67"/>
                    <a:pt x="110" y="67"/>
                  </a:cubicBezTo>
                  <a:cubicBezTo>
                    <a:pt x="115" y="67"/>
                    <a:pt x="122" y="66"/>
                    <a:pt x="126" y="64"/>
                  </a:cubicBezTo>
                  <a:cubicBezTo>
                    <a:pt x="154" y="47"/>
                    <a:pt x="154" y="47"/>
                    <a:pt x="154" y="47"/>
                  </a:cubicBezTo>
                  <a:cubicBezTo>
                    <a:pt x="154" y="53"/>
                    <a:pt x="154" y="53"/>
                    <a:pt x="154" y="53"/>
                  </a:cubicBezTo>
                  <a:cubicBezTo>
                    <a:pt x="121" y="72"/>
                    <a:pt x="121" y="72"/>
                    <a:pt x="121" y="72"/>
                  </a:cubicBezTo>
                  <a:cubicBezTo>
                    <a:pt x="117" y="74"/>
                    <a:pt x="110" y="76"/>
                    <a:pt x="105" y="76"/>
                  </a:cubicBezTo>
                  <a:cubicBezTo>
                    <a:pt x="8" y="76"/>
                    <a:pt x="8" y="76"/>
                    <a:pt x="8" y="76"/>
                  </a:cubicBezTo>
                  <a:cubicBezTo>
                    <a:pt x="4" y="76"/>
                    <a:pt x="0" y="72"/>
                    <a:pt x="0" y="67"/>
                  </a:cubicBezTo>
                  <a:cubicBezTo>
                    <a:pt x="0" y="8"/>
                    <a:pt x="0" y="8"/>
                    <a:pt x="0" y="8"/>
                  </a:cubicBezTo>
                  <a:cubicBezTo>
                    <a:pt x="0" y="5"/>
                    <a:pt x="2" y="2"/>
                    <a:pt x="5" y="0"/>
                  </a:cubicBezTo>
                  <a:close/>
                </a:path>
              </a:pathLst>
            </a:custGeom>
            <a:solidFill>
              <a:srgbClr val="C86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5" name="Rectangle 125">
              <a:extLst>
                <a:ext uri="{FF2B5EF4-FFF2-40B4-BE49-F238E27FC236}">
                  <a16:creationId xmlns:a16="http://schemas.microsoft.com/office/drawing/2014/main" id="{0AFFE1CB-5B49-4478-9448-59BC06330D82}"/>
                </a:ext>
              </a:extLst>
            </p:cNvPr>
            <p:cNvSpPr>
              <a:spLocks noChangeArrowheads="1"/>
            </p:cNvSpPr>
            <p:nvPr userDrawn="1"/>
          </p:nvSpPr>
          <p:spPr bwMode="auto">
            <a:xfrm>
              <a:off x="8219218" y="4706626"/>
              <a:ext cx="47871" cy="5053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6" name="Freeform 126">
              <a:extLst>
                <a:ext uri="{FF2B5EF4-FFF2-40B4-BE49-F238E27FC236}">
                  <a16:creationId xmlns:a16="http://schemas.microsoft.com/office/drawing/2014/main" id="{90FEE50E-B757-4A7D-8439-3AD720E5759A}"/>
                </a:ext>
              </a:extLst>
            </p:cNvPr>
            <p:cNvSpPr>
              <a:spLocks/>
            </p:cNvSpPr>
            <p:nvPr userDrawn="1"/>
          </p:nvSpPr>
          <p:spPr bwMode="auto">
            <a:xfrm>
              <a:off x="8860164" y="4648117"/>
              <a:ext cx="101062" cy="69148"/>
            </a:xfrm>
            <a:custGeom>
              <a:avLst/>
              <a:gdLst>
                <a:gd name="T0" fmla="*/ 26 w 26"/>
                <a:gd name="T1" fmla="*/ 0 h 18"/>
                <a:gd name="T2" fmla="*/ 26 w 26"/>
                <a:gd name="T3" fmla="*/ 3 h 18"/>
                <a:gd name="T4" fmla="*/ 11 w 26"/>
                <a:gd name="T5" fmla="*/ 18 h 18"/>
                <a:gd name="T6" fmla="*/ 0 w 26"/>
                <a:gd name="T7" fmla="*/ 18 h 18"/>
                <a:gd name="T8" fmla="*/ 0 w 26"/>
                <a:gd name="T9" fmla="*/ 13 h 18"/>
                <a:gd name="T10" fmla="*/ 11 w 26"/>
                <a:gd name="T11" fmla="*/ 13 h 18"/>
                <a:gd name="T12" fmla="*/ 26 w 26"/>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6" h="18">
                  <a:moveTo>
                    <a:pt x="26" y="0"/>
                  </a:moveTo>
                  <a:cubicBezTo>
                    <a:pt x="26" y="1"/>
                    <a:pt x="26" y="2"/>
                    <a:pt x="26" y="3"/>
                  </a:cubicBezTo>
                  <a:cubicBezTo>
                    <a:pt x="26" y="11"/>
                    <a:pt x="19" y="18"/>
                    <a:pt x="11" y="18"/>
                  </a:cubicBezTo>
                  <a:cubicBezTo>
                    <a:pt x="0" y="18"/>
                    <a:pt x="0" y="18"/>
                    <a:pt x="0" y="18"/>
                  </a:cubicBezTo>
                  <a:cubicBezTo>
                    <a:pt x="0" y="13"/>
                    <a:pt x="0" y="13"/>
                    <a:pt x="0" y="13"/>
                  </a:cubicBezTo>
                  <a:cubicBezTo>
                    <a:pt x="11" y="13"/>
                    <a:pt x="11" y="13"/>
                    <a:pt x="11" y="13"/>
                  </a:cubicBezTo>
                  <a:cubicBezTo>
                    <a:pt x="19" y="13"/>
                    <a:pt x="25" y="7"/>
                    <a:pt x="26" y="0"/>
                  </a:cubicBez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64592" tIns="109728" rIns="164592"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40266397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03268474"/>
      </p:ext>
    </p:extLst>
  </p:cSld>
  <p:clrMapOvr>
    <a:masterClrMapping/>
  </p:clrMapOvr>
  <p:transition>
    <p:fade/>
  </p:transition>
  <p:extLst mod="1">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64592" tIns="109728" rIns="164592"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4629863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88810820"/>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30746168"/>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02452919"/>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49857588"/>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76648362"/>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0636975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9604978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80556600"/>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24130252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92018982"/>
      </p:ext>
    </p:extLst>
  </p:cSld>
  <p:clrMapOvr>
    <a:masterClrMapping/>
  </p:clrMapOvr>
  <p:transition>
    <p:fade/>
  </p:transition>
  <p:extLst mod="1">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3012559"/>
            <a:ext cx="5378548" cy="832882"/>
          </a:xfrm>
        </p:spPr>
        <p:txBody>
          <a:bodyPr anchor="ctr">
            <a:spAutoFit/>
          </a:bodyPr>
          <a:lstStyle>
            <a:lvl1pPr>
              <a:defRPr sz="4704"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593039942"/>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4"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1"/>
            <a:ext cx="6857650" cy="6858623"/>
          </a:xfrm>
          <a:prstGeom prst="rect">
            <a:avLst/>
          </a:prstGeom>
        </p:spPr>
      </p:pic>
    </p:spTree>
    <p:extLst>
      <p:ext uri="{BB962C8B-B14F-4D97-AF65-F5344CB8AC3E}">
        <p14:creationId xmlns:p14="http://schemas.microsoft.com/office/powerpoint/2010/main" val="3531094684"/>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6890809"/>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5963093"/>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661"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297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36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09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5829762"/>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59" tIns="179259" rIns="179259" bIns="179259" numCol="1" anchor="t" anchorCtr="0" compatLnSpc="1">
            <a:prstTxWarp prst="textNoShape">
              <a:avLst/>
            </a:prstTxWarp>
            <a:spAutoFit/>
          </a:bodyPr>
          <a:lstStyle/>
          <a:p>
            <a:pPr defTabSz="913748"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649687472"/>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808062576"/>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9905539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Intelligent Cloud Architect Boot Camp">
    <p:bg>
      <p:bgPr>
        <a:solidFill>
          <a:schemeClr val="bg2"/>
        </a:solidFill>
        <a:effectLst/>
      </p:bgPr>
    </p:bg>
    <p:spTree>
      <p:nvGrpSpPr>
        <p:cNvPr id="1" name=""/>
        <p:cNvGrpSpPr/>
        <p:nvPr/>
      </p:nvGrpSpPr>
      <p:grpSpPr>
        <a:xfrm>
          <a:off x="0" y="0"/>
          <a:ext cx="0" cy="0"/>
          <a:chOff x="0" y="0"/>
          <a:chExt cx="0" cy="0"/>
        </a:xfrm>
      </p:grpSpPr>
      <p:sp>
        <p:nvSpPr>
          <p:cNvPr id="11" name="Arc 12">
            <a:extLst>
              <a:ext uri="{FF2B5EF4-FFF2-40B4-BE49-F238E27FC236}">
                <a16:creationId xmlns:a16="http://schemas.microsoft.com/office/drawing/2014/main" id="{4482FD05-F4F6-4D52-A0D4-67F8B984BC9F}"/>
              </a:ext>
            </a:extLst>
          </p:cNvPr>
          <p:cNvSpPr/>
          <p:nvPr userDrawn="1"/>
        </p:nvSpPr>
        <p:spPr>
          <a:xfrm rot="16200000">
            <a:off x="8300546" y="1869065"/>
            <a:ext cx="2659858" cy="5123677"/>
          </a:xfrm>
          <a:custGeom>
            <a:avLst/>
            <a:gdLst>
              <a:gd name="connsiteX0" fmla="*/ 1485900 w 2971800"/>
              <a:gd name="connsiteY0" fmla="*/ 0 h 4581267"/>
              <a:gd name="connsiteX1" fmla="*/ 2735082 w 2971800"/>
              <a:gd name="connsiteY1" fmla="*/ 1050219 h 4581267"/>
              <a:gd name="connsiteX2" fmla="*/ 2971785 w 2971800"/>
              <a:gd name="connsiteY2" fmla="*/ 2301099 h 4581267"/>
              <a:gd name="connsiteX3" fmla="*/ 1485900 w 2971800"/>
              <a:gd name="connsiteY3" fmla="*/ 2290634 h 4581267"/>
              <a:gd name="connsiteX4" fmla="*/ 1485900 w 2971800"/>
              <a:gd name="connsiteY4" fmla="*/ 0 h 4581267"/>
              <a:gd name="connsiteX0" fmla="*/ 1485900 w 2971800"/>
              <a:gd name="connsiteY0" fmla="*/ 0 h 4581267"/>
              <a:gd name="connsiteX1" fmla="*/ 2735082 w 2971800"/>
              <a:gd name="connsiteY1" fmla="*/ 1050219 h 4581267"/>
              <a:gd name="connsiteX2" fmla="*/ 2971785 w 2971800"/>
              <a:gd name="connsiteY2" fmla="*/ 2301099 h 4581267"/>
              <a:gd name="connsiteX0" fmla="*/ 0 w 1485900"/>
              <a:gd name="connsiteY0" fmla="*/ 0 h 5095102"/>
              <a:gd name="connsiteX1" fmla="*/ 1249182 w 1485900"/>
              <a:gd name="connsiteY1" fmla="*/ 1050219 h 5095102"/>
              <a:gd name="connsiteX2" fmla="*/ 1485885 w 1485900"/>
              <a:gd name="connsiteY2" fmla="*/ 2301099 h 5095102"/>
              <a:gd name="connsiteX3" fmla="*/ 0 w 1485900"/>
              <a:gd name="connsiteY3" fmla="*/ 2290634 h 5095102"/>
              <a:gd name="connsiteX4" fmla="*/ 0 w 1485900"/>
              <a:gd name="connsiteY4" fmla="*/ 0 h 5095102"/>
              <a:gd name="connsiteX0" fmla="*/ 0 w 1485900"/>
              <a:gd name="connsiteY0" fmla="*/ 0 h 5095102"/>
              <a:gd name="connsiteX1" fmla="*/ 1249182 w 1485900"/>
              <a:gd name="connsiteY1" fmla="*/ 1050219 h 5095102"/>
              <a:gd name="connsiteX2" fmla="*/ 457184 w 1485900"/>
              <a:gd name="connsiteY2" fmla="*/ 5095102 h 5095102"/>
              <a:gd name="connsiteX0" fmla="*/ 1143000 w 2628900"/>
              <a:gd name="connsiteY0" fmla="*/ 0 h 5095102"/>
              <a:gd name="connsiteX1" fmla="*/ 2392182 w 2628900"/>
              <a:gd name="connsiteY1" fmla="*/ 1050219 h 5095102"/>
              <a:gd name="connsiteX2" fmla="*/ 2628885 w 2628900"/>
              <a:gd name="connsiteY2" fmla="*/ 2301099 h 5095102"/>
              <a:gd name="connsiteX3" fmla="*/ 1143000 w 2628900"/>
              <a:gd name="connsiteY3" fmla="*/ 2290634 h 5095102"/>
              <a:gd name="connsiteX4" fmla="*/ 1143000 w 2628900"/>
              <a:gd name="connsiteY4" fmla="*/ 0 h 5095102"/>
              <a:gd name="connsiteX0" fmla="*/ 0 w 2628900"/>
              <a:gd name="connsiteY0" fmla="*/ 1816100 h 5095102"/>
              <a:gd name="connsiteX1" fmla="*/ 2392182 w 2628900"/>
              <a:gd name="connsiteY1" fmla="*/ 1050219 h 5095102"/>
              <a:gd name="connsiteX2" fmla="*/ 1600184 w 2628900"/>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2425520 w 2662238"/>
              <a:gd name="connsiteY1" fmla="*/ 1050219 h 5095102"/>
              <a:gd name="connsiteX2" fmla="*/ 1633522 w 2662238"/>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Lst>
            <a:ahLst/>
            <a:cxnLst>
              <a:cxn ang="0">
                <a:pos x="connsiteX0" y="connsiteY0"/>
              </a:cxn>
              <a:cxn ang="0">
                <a:pos x="connsiteX1" y="connsiteY1"/>
              </a:cxn>
            </a:cxnLst>
            <a:rect l="l" t="t" r="r" b="b"/>
            <a:pathLst>
              <a:path w="2659858" h="5123677" stroke="0" extrusionOk="0">
                <a:moveTo>
                  <a:pt x="1173958" y="0"/>
                </a:moveTo>
                <a:cubicBezTo>
                  <a:pt x="1679080" y="0"/>
                  <a:pt x="2149608" y="395585"/>
                  <a:pt x="2423140" y="1050219"/>
                </a:cubicBezTo>
                <a:cubicBezTo>
                  <a:pt x="2578929" y="1423063"/>
                  <a:pt x="2661157" y="1857606"/>
                  <a:pt x="2659843" y="2301099"/>
                </a:cubicBezTo>
                <a:lnTo>
                  <a:pt x="1173958" y="2290634"/>
                </a:lnTo>
                <a:lnTo>
                  <a:pt x="1173958" y="0"/>
                </a:lnTo>
                <a:close/>
              </a:path>
              <a:path w="2659858" h="5123677" fill="none">
                <a:moveTo>
                  <a:pt x="0" y="1889922"/>
                </a:moveTo>
                <a:cubicBezTo>
                  <a:pt x="1442247" y="2534466"/>
                  <a:pt x="1905795" y="3976716"/>
                  <a:pt x="1650192" y="5123677"/>
                </a:cubicBezTo>
              </a:path>
            </a:pathLst>
          </a:custGeom>
          <a:noFill/>
          <a:ln w="12700">
            <a:solidFill>
              <a:schemeClr val="accent1">
                <a:lumMod val="20000"/>
                <a:lumOff val="80000"/>
                <a:alpha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2" name="Arc 12">
            <a:extLst>
              <a:ext uri="{FF2B5EF4-FFF2-40B4-BE49-F238E27FC236}">
                <a16:creationId xmlns:a16="http://schemas.microsoft.com/office/drawing/2014/main" id="{E73B8847-EA8B-4495-9732-9FA0DB1963B0}"/>
              </a:ext>
            </a:extLst>
          </p:cNvPr>
          <p:cNvSpPr/>
          <p:nvPr userDrawn="1"/>
        </p:nvSpPr>
        <p:spPr>
          <a:xfrm rot="16200000">
            <a:off x="4275597" y="-1752531"/>
            <a:ext cx="6569893" cy="9188265"/>
          </a:xfrm>
          <a:custGeom>
            <a:avLst/>
            <a:gdLst>
              <a:gd name="connsiteX0" fmla="*/ 1485900 w 2971800"/>
              <a:gd name="connsiteY0" fmla="*/ 0 h 4581267"/>
              <a:gd name="connsiteX1" fmla="*/ 2735082 w 2971800"/>
              <a:gd name="connsiteY1" fmla="*/ 1050219 h 4581267"/>
              <a:gd name="connsiteX2" fmla="*/ 2971785 w 2971800"/>
              <a:gd name="connsiteY2" fmla="*/ 2301099 h 4581267"/>
              <a:gd name="connsiteX3" fmla="*/ 1485900 w 2971800"/>
              <a:gd name="connsiteY3" fmla="*/ 2290634 h 4581267"/>
              <a:gd name="connsiteX4" fmla="*/ 1485900 w 2971800"/>
              <a:gd name="connsiteY4" fmla="*/ 0 h 4581267"/>
              <a:gd name="connsiteX0" fmla="*/ 1485900 w 2971800"/>
              <a:gd name="connsiteY0" fmla="*/ 0 h 4581267"/>
              <a:gd name="connsiteX1" fmla="*/ 2735082 w 2971800"/>
              <a:gd name="connsiteY1" fmla="*/ 1050219 h 4581267"/>
              <a:gd name="connsiteX2" fmla="*/ 2971785 w 2971800"/>
              <a:gd name="connsiteY2" fmla="*/ 2301099 h 4581267"/>
              <a:gd name="connsiteX0" fmla="*/ 0 w 1485900"/>
              <a:gd name="connsiteY0" fmla="*/ 0 h 5095102"/>
              <a:gd name="connsiteX1" fmla="*/ 1249182 w 1485900"/>
              <a:gd name="connsiteY1" fmla="*/ 1050219 h 5095102"/>
              <a:gd name="connsiteX2" fmla="*/ 1485885 w 1485900"/>
              <a:gd name="connsiteY2" fmla="*/ 2301099 h 5095102"/>
              <a:gd name="connsiteX3" fmla="*/ 0 w 1485900"/>
              <a:gd name="connsiteY3" fmla="*/ 2290634 h 5095102"/>
              <a:gd name="connsiteX4" fmla="*/ 0 w 1485900"/>
              <a:gd name="connsiteY4" fmla="*/ 0 h 5095102"/>
              <a:gd name="connsiteX0" fmla="*/ 0 w 1485900"/>
              <a:gd name="connsiteY0" fmla="*/ 0 h 5095102"/>
              <a:gd name="connsiteX1" fmla="*/ 1249182 w 1485900"/>
              <a:gd name="connsiteY1" fmla="*/ 1050219 h 5095102"/>
              <a:gd name="connsiteX2" fmla="*/ 457184 w 1485900"/>
              <a:gd name="connsiteY2" fmla="*/ 5095102 h 5095102"/>
              <a:gd name="connsiteX0" fmla="*/ 1143000 w 2628900"/>
              <a:gd name="connsiteY0" fmla="*/ 0 h 5095102"/>
              <a:gd name="connsiteX1" fmla="*/ 2392182 w 2628900"/>
              <a:gd name="connsiteY1" fmla="*/ 1050219 h 5095102"/>
              <a:gd name="connsiteX2" fmla="*/ 2628885 w 2628900"/>
              <a:gd name="connsiteY2" fmla="*/ 2301099 h 5095102"/>
              <a:gd name="connsiteX3" fmla="*/ 1143000 w 2628900"/>
              <a:gd name="connsiteY3" fmla="*/ 2290634 h 5095102"/>
              <a:gd name="connsiteX4" fmla="*/ 1143000 w 2628900"/>
              <a:gd name="connsiteY4" fmla="*/ 0 h 5095102"/>
              <a:gd name="connsiteX0" fmla="*/ 0 w 2628900"/>
              <a:gd name="connsiteY0" fmla="*/ 1816100 h 5095102"/>
              <a:gd name="connsiteX1" fmla="*/ 2392182 w 2628900"/>
              <a:gd name="connsiteY1" fmla="*/ 1050219 h 5095102"/>
              <a:gd name="connsiteX2" fmla="*/ 1600184 w 2628900"/>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2425520 w 2662238"/>
              <a:gd name="connsiteY1" fmla="*/ 1050219 h 5095102"/>
              <a:gd name="connsiteX2" fmla="*/ 1633522 w 2662238"/>
              <a:gd name="connsiteY2"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095102"/>
              <a:gd name="connsiteX1" fmla="*/ 2425520 w 2662238"/>
              <a:gd name="connsiteY1" fmla="*/ 1050219 h 5095102"/>
              <a:gd name="connsiteX2" fmla="*/ 2662223 w 2662238"/>
              <a:gd name="connsiteY2" fmla="*/ 2301099 h 5095102"/>
              <a:gd name="connsiteX3" fmla="*/ 1176338 w 2662238"/>
              <a:gd name="connsiteY3" fmla="*/ 2290634 h 5095102"/>
              <a:gd name="connsiteX4" fmla="*/ 1176338 w 2662238"/>
              <a:gd name="connsiteY4" fmla="*/ 0 h 5095102"/>
              <a:gd name="connsiteX0" fmla="*/ 0 w 2662238"/>
              <a:gd name="connsiteY0" fmla="*/ 1882775 h 5095102"/>
              <a:gd name="connsiteX1" fmla="*/ 1633522 w 2662238"/>
              <a:gd name="connsiteY1" fmla="*/ 5095102 h 5095102"/>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6338 w 2662238"/>
              <a:gd name="connsiteY0" fmla="*/ 0 h 5123677"/>
              <a:gd name="connsiteX1" fmla="*/ 2425520 w 2662238"/>
              <a:gd name="connsiteY1" fmla="*/ 1050219 h 5123677"/>
              <a:gd name="connsiteX2" fmla="*/ 2662223 w 2662238"/>
              <a:gd name="connsiteY2" fmla="*/ 2301099 h 5123677"/>
              <a:gd name="connsiteX3" fmla="*/ 1176338 w 2662238"/>
              <a:gd name="connsiteY3" fmla="*/ 2290634 h 5123677"/>
              <a:gd name="connsiteX4" fmla="*/ 1176338 w 2662238"/>
              <a:gd name="connsiteY4" fmla="*/ 0 h 5123677"/>
              <a:gd name="connsiteX0" fmla="*/ 0 w 2662238"/>
              <a:gd name="connsiteY0" fmla="*/ 1882775 h 5123677"/>
              <a:gd name="connsiteX1" fmla="*/ 1652572 w 266223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73958 w 2659858"/>
              <a:gd name="connsiteY0" fmla="*/ 0 h 5123677"/>
              <a:gd name="connsiteX1" fmla="*/ 2423140 w 2659858"/>
              <a:gd name="connsiteY1" fmla="*/ 1050219 h 5123677"/>
              <a:gd name="connsiteX2" fmla="*/ 2659843 w 2659858"/>
              <a:gd name="connsiteY2" fmla="*/ 2301099 h 5123677"/>
              <a:gd name="connsiteX3" fmla="*/ 1173958 w 2659858"/>
              <a:gd name="connsiteY3" fmla="*/ 2290634 h 5123677"/>
              <a:gd name="connsiteX4" fmla="*/ 1173958 w 2659858"/>
              <a:gd name="connsiteY4" fmla="*/ 0 h 5123677"/>
              <a:gd name="connsiteX0" fmla="*/ 0 w 2659858"/>
              <a:gd name="connsiteY0" fmla="*/ 1889922 h 5123677"/>
              <a:gd name="connsiteX1" fmla="*/ 1650192 w 2659858"/>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 name="connsiteX0" fmla="*/ 1150209 w 2636109"/>
              <a:gd name="connsiteY0" fmla="*/ 0 h 5123677"/>
              <a:gd name="connsiteX1" fmla="*/ 2399391 w 2636109"/>
              <a:gd name="connsiteY1" fmla="*/ 1050219 h 5123677"/>
              <a:gd name="connsiteX2" fmla="*/ 2636094 w 2636109"/>
              <a:gd name="connsiteY2" fmla="*/ 2301099 h 5123677"/>
              <a:gd name="connsiteX3" fmla="*/ 1150209 w 2636109"/>
              <a:gd name="connsiteY3" fmla="*/ 2290634 h 5123677"/>
              <a:gd name="connsiteX4" fmla="*/ 1150209 w 2636109"/>
              <a:gd name="connsiteY4" fmla="*/ 0 h 5123677"/>
              <a:gd name="connsiteX0" fmla="*/ 0 w 2636109"/>
              <a:gd name="connsiteY0" fmla="*/ 2045387 h 5123677"/>
              <a:gd name="connsiteX1" fmla="*/ 1626443 w 2636109"/>
              <a:gd name="connsiteY1" fmla="*/ 5123677 h 5123677"/>
            </a:gdLst>
            <a:ahLst/>
            <a:cxnLst>
              <a:cxn ang="0">
                <a:pos x="connsiteX0" y="connsiteY0"/>
              </a:cxn>
              <a:cxn ang="0">
                <a:pos x="connsiteX1" y="connsiteY1"/>
              </a:cxn>
            </a:cxnLst>
            <a:rect l="l" t="t" r="r" b="b"/>
            <a:pathLst>
              <a:path w="2636109" h="5123677" stroke="0" extrusionOk="0">
                <a:moveTo>
                  <a:pt x="1150209" y="0"/>
                </a:moveTo>
                <a:cubicBezTo>
                  <a:pt x="1655331" y="0"/>
                  <a:pt x="2125859" y="395585"/>
                  <a:pt x="2399391" y="1050219"/>
                </a:cubicBezTo>
                <a:cubicBezTo>
                  <a:pt x="2555180" y="1423063"/>
                  <a:pt x="2637408" y="1857606"/>
                  <a:pt x="2636094" y="2301099"/>
                </a:cubicBezTo>
                <a:lnTo>
                  <a:pt x="1150209" y="2290634"/>
                </a:lnTo>
                <a:lnTo>
                  <a:pt x="1150209" y="0"/>
                </a:lnTo>
                <a:close/>
              </a:path>
              <a:path w="2636109" h="5123677" fill="none">
                <a:moveTo>
                  <a:pt x="0" y="2045387"/>
                </a:moveTo>
                <a:cubicBezTo>
                  <a:pt x="1360446" y="2375211"/>
                  <a:pt x="1736915" y="4098056"/>
                  <a:pt x="1626443" y="5123677"/>
                </a:cubicBezTo>
              </a:path>
            </a:pathLst>
          </a:custGeom>
          <a:noFill/>
          <a:ln w="12700">
            <a:solidFill>
              <a:schemeClr val="accent1">
                <a:lumMod val="20000"/>
                <a:lumOff val="80000"/>
                <a:alpha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3" name="Freeform 11">
            <a:extLst>
              <a:ext uri="{FF2B5EF4-FFF2-40B4-BE49-F238E27FC236}">
                <a16:creationId xmlns:a16="http://schemas.microsoft.com/office/drawing/2014/main" id="{1F943766-1615-4432-905C-072976630204}"/>
              </a:ext>
            </a:extLst>
          </p:cNvPr>
          <p:cNvSpPr>
            <a:spLocks/>
          </p:cNvSpPr>
          <p:nvPr userDrawn="1"/>
        </p:nvSpPr>
        <p:spPr bwMode="auto">
          <a:xfrm>
            <a:off x="-92364" y="4651948"/>
            <a:ext cx="12284364" cy="2258859"/>
          </a:xfrm>
          <a:custGeom>
            <a:avLst/>
            <a:gdLst>
              <a:gd name="T0" fmla="*/ 4468 w 4666"/>
              <a:gd name="T1" fmla="*/ 394 h 887"/>
              <a:gd name="T2" fmla="*/ 4208 w 4666"/>
              <a:gd name="T3" fmla="*/ 497 h 887"/>
              <a:gd name="T4" fmla="*/ 4019 w 4666"/>
              <a:gd name="T5" fmla="*/ 257 h 887"/>
              <a:gd name="T6" fmla="*/ 3962 w 4666"/>
              <a:gd name="T7" fmla="*/ 180 h 887"/>
              <a:gd name="T8" fmla="*/ 3796 w 4666"/>
              <a:gd name="T9" fmla="*/ 257 h 887"/>
              <a:gd name="T10" fmla="*/ 3739 w 4666"/>
              <a:gd name="T11" fmla="*/ 320 h 887"/>
              <a:gd name="T12" fmla="*/ 3606 w 4666"/>
              <a:gd name="T13" fmla="*/ 109 h 887"/>
              <a:gd name="T14" fmla="*/ 3364 w 4666"/>
              <a:gd name="T15" fmla="*/ 0 h 887"/>
              <a:gd name="T16" fmla="*/ 2978 w 4666"/>
              <a:gd name="T17" fmla="*/ 257 h 887"/>
              <a:gd name="T18" fmla="*/ 2926 w 4666"/>
              <a:gd name="T19" fmla="*/ 180 h 887"/>
              <a:gd name="T20" fmla="*/ 2760 w 4666"/>
              <a:gd name="T21" fmla="*/ 257 h 887"/>
              <a:gd name="T22" fmla="*/ 2703 w 4666"/>
              <a:gd name="T23" fmla="*/ 497 h 887"/>
              <a:gd name="T24" fmla="*/ 2512 w 4666"/>
              <a:gd name="T25" fmla="*/ 394 h 887"/>
              <a:gd name="T26" fmla="*/ 2254 w 4666"/>
              <a:gd name="T27" fmla="*/ 320 h 887"/>
              <a:gd name="T28" fmla="*/ 1955 w 4666"/>
              <a:gd name="T29" fmla="*/ 91 h 887"/>
              <a:gd name="T30" fmla="*/ 1751 w 4666"/>
              <a:gd name="T31" fmla="*/ 465 h 887"/>
              <a:gd name="T32" fmla="*/ 1567 w 4666"/>
              <a:gd name="T33" fmla="*/ 394 h 887"/>
              <a:gd name="T34" fmla="*/ 1325 w 4666"/>
              <a:gd name="T35" fmla="*/ 394 h 887"/>
              <a:gd name="T36" fmla="*/ 1290 w 4666"/>
              <a:gd name="T37" fmla="*/ 497 h 887"/>
              <a:gd name="T38" fmla="*/ 1099 w 4666"/>
              <a:gd name="T39" fmla="*/ 428 h 887"/>
              <a:gd name="T40" fmla="*/ 1044 w 4666"/>
              <a:gd name="T41" fmla="*/ 351 h 887"/>
              <a:gd name="T42" fmla="*/ 876 w 4666"/>
              <a:gd name="T43" fmla="*/ 428 h 887"/>
              <a:gd name="T44" fmla="*/ 821 w 4666"/>
              <a:gd name="T45" fmla="*/ 634 h 887"/>
              <a:gd name="T46" fmla="*/ 567 w 4666"/>
              <a:gd name="T47" fmla="*/ 465 h 887"/>
              <a:gd name="T48" fmla="*/ 325 w 4666"/>
              <a:gd name="T49" fmla="*/ 603 h 887"/>
              <a:gd name="T50" fmla="*/ 0 w 4666"/>
              <a:gd name="T51" fmla="*/ 887 h 887"/>
              <a:gd name="T52" fmla="*/ 327 w 4666"/>
              <a:gd name="T53" fmla="*/ 887 h 887"/>
              <a:gd name="T54" fmla="*/ 567 w 4666"/>
              <a:gd name="T55" fmla="*/ 887 h 887"/>
              <a:gd name="T56" fmla="*/ 860 w 4666"/>
              <a:gd name="T57" fmla="*/ 887 h 887"/>
              <a:gd name="T58" fmla="*/ 1099 w 4666"/>
              <a:gd name="T59" fmla="*/ 887 h 887"/>
              <a:gd name="T60" fmla="*/ 1204 w 4666"/>
              <a:gd name="T61" fmla="*/ 887 h 887"/>
              <a:gd name="T62" fmla="*/ 1321 w 4666"/>
              <a:gd name="T63" fmla="*/ 887 h 887"/>
              <a:gd name="T64" fmla="*/ 1346 w 4666"/>
              <a:gd name="T65" fmla="*/ 887 h 887"/>
              <a:gd name="T66" fmla="*/ 1553 w 4666"/>
              <a:gd name="T67" fmla="*/ 887 h 887"/>
              <a:gd name="T68" fmla="*/ 1751 w 4666"/>
              <a:gd name="T69" fmla="*/ 887 h 887"/>
              <a:gd name="T70" fmla="*/ 1827 w 4666"/>
              <a:gd name="T71" fmla="*/ 887 h 887"/>
              <a:gd name="T72" fmla="*/ 2254 w 4666"/>
              <a:gd name="T73" fmla="*/ 887 h 887"/>
              <a:gd name="T74" fmla="*/ 2512 w 4666"/>
              <a:gd name="T75" fmla="*/ 887 h 887"/>
              <a:gd name="T76" fmla="*/ 2741 w 4666"/>
              <a:gd name="T77" fmla="*/ 887 h 887"/>
              <a:gd name="T78" fmla="*/ 2981 w 4666"/>
              <a:gd name="T79" fmla="*/ 887 h 887"/>
              <a:gd name="T80" fmla="*/ 3364 w 4666"/>
              <a:gd name="T81" fmla="*/ 887 h 887"/>
              <a:gd name="T82" fmla="*/ 3606 w 4666"/>
              <a:gd name="T83" fmla="*/ 887 h 887"/>
              <a:gd name="T84" fmla="*/ 3780 w 4666"/>
              <a:gd name="T85" fmla="*/ 887 h 887"/>
              <a:gd name="T86" fmla="*/ 4019 w 4666"/>
              <a:gd name="T87" fmla="*/ 887 h 887"/>
              <a:gd name="T88" fmla="*/ 4208 w 4666"/>
              <a:gd name="T89" fmla="*/ 887 h 887"/>
              <a:gd name="T90" fmla="*/ 4468 w 4666"/>
              <a:gd name="T91" fmla="*/ 887 h 887"/>
              <a:gd name="T92" fmla="*/ 4666 w 4666"/>
              <a:gd name="T93" fmla="*/ 722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666" h="887">
                <a:moveTo>
                  <a:pt x="4468" y="722"/>
                </a:moveTo>
                <a:lnTo>
                  <a:pt x="4468" y="394"/>
                </a:lnTo>
                <a:lnTo>
                  <a:pt x="4208" y="394"/>
                </a:lnTo>
                <a:lnTo>
                  <a:pt x="4208" y="497"/>
                </a:lnTo>
                <a:lnTo>
                  <a:pt x="4019" y="497"/>
                </a:lnTo>
                <a:lnTo>
                  <a:pt x="4019" y="257"/>
                </a:lnTo>
                <a:lnTo>
                  <a:pt x="3962" y="257"/>
                </a:lnTo>
                <a:lnTo>
                  <a:pt x="3962" y="180"/>
                </a:lnTo>
                <a:lnTo>
                  <a:pt x="3796" y="180"/>
                </a:lnTo>
                <a:lnTo>
                  <a:pt x="3796" y="257"/>
                </a:lnTo>
                <a:lnTo>
                  <a:pt x="3739" y="257"/>
                </a:lnTo>
                <a:lnTo>
                  <a:pt x="3739" y="320"/>
                </a:lnTo>
                <a:lnTo>
                  <a:pt x="3606" y="320"/>
                </a:lnTo>
                <a:lnTo>
                  <a:pt x="3606" y="109"/>
                </a:lnTo>
                <a:lnTo>
                  <a:pt x="3364" y="306"/>
                </a:lnTo>
                <a:lnTo>
                  <a:pt x="3364" y="0"/>
                </a:lnTo>
                <a:lnTo>
                  <a:pt x="2978" y="0"/>
                </a:lnTo>
                <a:lnTo>
                  <a:pt x="2978" y="257"/>
                </a:lnTo>
                <a:lnTo>
                  <a:pt x="2926" y="257"/>
                </a:lnTo>
                <a:lnTo>
                  <a:pt x="2926" y="180"/>
                </a:lnTo>
                <a:lnTo>
                  <a:pt x="2760" y="180"/>
                </a:lnTo>
                <a:lnTo>
                  <a:pt x="2760" y="257"/>
                </a:lnTo>
                <a:lnTo>
                  <a:pt x="2703" y="257"/>
                </a:lnTo>
                <a:lnTo>
                  <a:pt x="2703" y="497"/>
                </a:lnTo>
                <a:lnTo>
                  <a:pt x="2512" y="497"/>
                </a:lnTo>
                <a:lnTo>
                  <a:pt x="2512" y="394"/>
                </a:lnTo>
                <a:lnTo>
                  <a:pt x="2254" y="394"/>
                </a:lnTo>
                <a:lnTo>
                  <a:pt x="2254" y="320"/>
                </a:lnTo>
                <a:lnTo>
                  <a:pt x="1955" y="320"/>
                </a:lnTo>
                <a:lnTo>
                  <a:pt x="1955" y="91"/>
                </a:lnTo>
                <a:lnTo>
                  <a:pt x="1751" y="91"/>
                </a:lnTo>
                <a:lnTo>
                  <a:pt x="1751" y="465"/>
                </a:lnTo>
                <a:lnTo>
                  <a:pt x="1567" y="465"/>
                </a:lnTo>
                <a:lnTo>
                  <a:pt x="1567" y="394"/>
                </a:lnTo>
                <a:lnTo>
                  <a:pt x="1550" y="394"/>
                </a:lnTo>
                <a:lnTo>
                  <a:pt x="1325" y="394"/>
                </a:lnTo>
                <a:lnTo>
                  <a:pt x="1290" y="394"/>
                </a:lnTo>
                <a:lnTo>
                  <a:pt x="1290" y="497"/>
                </a:lnTo>
                <a:lnTo>
                  <a:pt x="1099" y="497"/>
                </a:lnTo>
                <a:lnTo>
                  <a:pt x="1099" y="428"/>
                </a:lnTo>
                <a:lnTo>
                  <a:pt x="1044" y="428"/>
                </a:lnTo>
                <a:lnTo>
                  <a:pt x="1044" y="351"/>
                </a:lnTo>
                <a:lnTo>
                  <a:pt x="876" y="351"/>
                </a:lnTo>
                <a:lnTo>
                  <a:pt x="876" y="428"/>
                </a:lnTo>
                <a:lnTo>
                  <a:pt x="821" y="428"/>
                </a:lnTo>
                <a:lnTo>
                  <a:pt x="821" y="634"/>
                </a:lnTo>
                <a:lnTo>
                  <a:pt x="567" y="634"/>
                </a:lnTo>
                <a:lnTo>
                  <a:pt x="567" y="465"/>
                </a:lnTo>
                <a:lnTo>
                  <a:pt x="325" y="465"/>
                </a:lnTo>
                <a:lnTo>
                  <a:pt x="325" y="603"/>
                </a:lnTo>
                <a:lnTo>
                  <a:pt x="0" y="603"/>
                </a:lnTo>
                <a:lnTo>
                  <a:pt x="0" y="887"/>
                </a:lnTo>
                <a:lnTo>
                  <a:pt x="325" y="887"/>
                </a:lnTo>
                <a:lnTo>
                  <a:pt x="327" y="887"/>
                </a:lnTo>
                <a:lnTo>
                  <a:pt x="563" y="887"/>
                </a:lnTo>
                <a:lnTo>
                  <a:pt x="567" y="887"/>
                </a:lnTo>
                <a:lnTo>
                  <a:pt x="821" y="887"/>
                </a:lnTo>
                <a:lnTo>
                  <a:pt x="860" y="887"/>
                </a:lnTo>
                <a:lnTo>
                  <a:pt x="1061" y="887"/>
                </a:lnTo>
                <a:lnTo>
                  <a:pt x="1099" y="887"/>
                </a:lnTo>
                <a:lnTo>
                  <a:pt x="1104" y="887"/>
                </a:lnTo>
                <a:lnTo>
                  <a:pt x="1204" y="887"/>
                </a:lnTo>
                <a:lnTo>
                  <a:pt x="1290" y="887"/>
                </a:lnTo>
                <a:lnTo>
                  <a:pt x="1321" y="887"/>
                </a:lnTo>
                <a:lnTo>
                  <a:pt x="1325" y="887"/>
                </a:lnTo>
                <a:lnTo>
                  <a:pt x="1346" y="887"/>
                </a:lnTo>
                <a:lnTo>
                  <a:pt x="1550" y="887"/>
                </a:lnTo>
                <a:lnTo>
                  <a:pt x="1553" y="887"/>
                </a:lnTo>
                <a:lnTo>
                  <a:pt x="1567" y="887"/>
                </a:lnTo>
                <a:lnTo>
                  <a:pt x="1751" y="887"/>
                </a:lnTo>
                <a:lnTo>
                  <a:pt x="1795" y="887"/>
                </a:lnTo>
                <a:lnTo>
                  <a:pt x="1827" y="887"/>
                </a:lnTo>
                <a:lnTo>
                  <a:pt x="1955" y="887"/>
                </a:lnTo>
                <a:lnTo>
                  <a:pt x="2254" y="887"/>
                </a:lnTo>
                <a:lnTo>
                  <a:pt x="2483" y="887"/>
                </a:lnTo>
                <a:lnTo>
                  <a:pt x="2512" y="887"/>
                </a:lnTo>
                <a:lnTo>
                  <a:pt x="2703" y="887"/>
                </a:lnTo>
                <a:lnTo>
                  <a:pt x="2741" y="887"/>
                </a:lnTo>
                <a:lnTo>
                  <a:pt x="2978" y="887"/>
                </a:lnTo>
                <a:lnTo>
                  <a:pt x="2981" y="887"/>
                </a:lnTo>
                <a:lnTo>
                  <a:pt x="3356" y="887"/>
                </a:lnTo>
                <a:lnTo>
                  <a:pt x="3364" y="887"/>
                </a:lnTo>
                <a:lnTo>
                  <a:pt x="3481" y="887"/>
                </a:lnTo>
                <a:lnTo>
                  <a:pt x="3606" y="887"/>
                </a:lnTo>
                <a:lnTo>
                  <a:pt x="3739" y="887"/>
                </a:lnTo>
                <a:lnTo>
                  <a:pt x="3780" y="887"/>
                </a:lnTo>
                <a:lnTo>
                  <a:pt x="3980" y="887"/>
                </a:lnTo>
                <a:lnTo>
                  <a:pt x="4019" y="887"/>
                </a:lnTo>
                <a:lnTo>
                  <a:pt x="4124" y="887"/>
                </a:lnTo>
                <a:lnTo>
                  <a:pt x="4208" y="887"/>
                </a:lnTo>
                <a:lnTo>
                  <a:pt x="4239" y="887"/>
                </a:lnTo>
                <a:lnTo>
                  <a:pt x="4468" y="887"/>
                </a:lnTo>
                <a:lnTo>
                  <a:pt x="4666" y="887"/>
                </a:lnTo>
                <a:lnTo>
                  <a:pt x="4666" y="722"/>
                </a:lnTo>
                <a:lnTo>
                  <a:pt x="4468" y="722"/>
                </a:lnTo>
                <a:close/>
              </a:path>
            </a:pathLst>
          </a:custGeom>
          <a:solidFill>
            <a:srgbClr val="00188F">
              <a:lumMod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4" name="Rectangle 13">
            <a:extLst>
              <a:ext uri="{FF2B5EF4-FFF2-40B4-BE49-F238E27FC236}">
                <a16:creationId xmlns:a16="http://schemas.microsoft.com/office/drawing/2014/main" id="{7CAC56D8-7E55-4F0C-8E9D-9362AAA1BE8A}"/>
              </a:ext>
            </a:extLst>
          </p:cNvPr>
          <p:cNvSpPr/>
          <p:nvPr userDrawn="1"/>
        </p:nvSpPr>
        <p:spPr>
          <a:xfrm>
            <a:off x="6079376" y="456225"/>
            <a:ext cx="5936412" cy="1421928"/>
          </a:xfrm>
          <a:prstGeom prst="rect">
            <a:avLst/>
          </a:prstGeom>
        </p:spPr>
        <p:txBody>
          <a:bodyPr wrap="square">
            <a:spAutoFit/>
          </a:bodyPr>
          <a:lstStyle/>
          <a:p>
            <a:pPr>
              <a:lnSpc>
                <a:spcPct val="90000"/>
              </a:lnSpc>
            </a:pPr>
            <a:r>
              <a:rPr lang="en-US" sz="4800" b="1" kern="1200" cap="none" spc="-98" baseline="0">
                <a:ln w="3175">
                  <a:noFill/>
                </a:ln>
                <a:solidFill>
                  <a:schemeClr val="tx1"/>
                </a:solidFill>
                <a:effectLst/>
                <a:latin typeface="Segoe UI" panose="020B0502040204020203" pitchFamily="34" charset="0"/>
                <a:ea typeface="+mn-ea"/>
                <a:cs typeface="Segoe UI" panose="020B0502040204020203" pitchFamily="34" charset="0"/>
              </a:rPr>
              <a:t>Intelligent Cloud Architect Boot Camp</a:t>
            </a:r>
          </a:p>
        </p:txBody>
      </p:sp>
      <p:sp>
        <p:nvSpPr>
          <p:cNvPr id="15" name="Freeform 10">
            <a:extLst>
              <a:ext uri="{FF2B5EF4-FFF2-40B4-BE49-F238E27FC236}">
                <a16:creationId xmlns:a16="http://schemas.microsoft.com/office/drawing/2014/main" id="{E79ACDCA-90B8-4F93-AB30-1088C4082FC4}"/>
              </a:ext>
            </a:extLst>
          </p:cNvPr>
          <p:cNvSpPr>
            <a:spLocks/>
          </p:cNvSpPr>
          <p:nvPr userDrawn="1"/>
        </p:nvSpPr>
        <p:spPr bwMode="auto">
          <a:xfrm>
            <a:off x="269300" y="4471379"/>
            <a:ext cx="12063937" cy="2228238"/>
          </a:xfrm>
          <a:custGeom>
            <a:avLst/>
            <a:gdLst>
              <a:gd name="T0" fmla="*/ 0 w 2301"/>
              <a:gd name="T1" fmla="*/ 122 h 425"/>
              <a:gd name="T2" fmla="*/ 10 w 2301"/>
              <a:gd name="T3" fmla="*/ 293 h 425"/>
              <a:gd name="T4" fmla="*/ 34 w 2301"/>
              <a:gd name="T5" fmla="*/ 211 h 425"/>
              <a:gd name="T6" fmla="*/ 108 w 2301"/>
              <a:gd name="T7" fmla="*/ 293 h 425"/>
              <a:gd name="T8" fmla="*/ 124 w 2301"/>
              <a:gd name="T9" fmla="*/ 132 h 425"/>
              <a:gd name="T10" fmla="*/ 148 w 2301"/>
              <a:gd name="T11" fmla="*/ 78 h 425"/>
              <a:gd name="T12" fmla="*/ 187 w 2301"/>
              <a:gd name="T13" fmla="*/ 132 h 425"/>
              <a:gd name="T14" fmla="*/ 204 w 2301"/>
              <a:gd name="T15" fmla="*/ 243 h 425"/>
              <a:gd name="T16" fmla="*/ 231 w 2301"/>
              <a:gd name="T17" fmla="*/ 51 h 425"/>
              <a:gd name="T18" fmla="*/ 285 w 2301"/>
              <a:gd name="T19" fmla="*/ 51 h 425"/>
              <a:gd name="T20" fmla="*/ 307 w 2301"/>
              <a:gd name="T21" fmla="*/ 172 h 425"/>
              <a:gd name="T22" fmla="*/ 315 w 2301"/>
              <a:gd name="T23" fmla="*/ 43 h 425"/>
              <a:gd name="T24" fmla="*/ 400 w 2301"/>
              <a:gd name="T25" fmla="*/ 177 h 425"/>
              <a:gd name="T26" fmla="*/ 439 w 2301"/>
              <a:gd name="T27" fmla="*/ 39 h 425"/>
              <a:gd name="T28" fmla="*/ 471 w 2301"/>
              <a:gd name="T29" fmla="*/ 177 h 425"/>
              <a:gd name="T30" fmla="*/ 498 w 2301"/>
              <a:gd name="T31" fmla="*/ 293 h 425"/>
              <a:gd name="T32" fmla="*/ 522 w 2301"/>
              <a:gd name="T33" fmla="*/ 182 h 425"/>
              <a:gd name="T34" fmla="*/ 582 w 2301"/>
              <a:gd name="T35" fmla="*/ 264 h 425"/>
              <a:gd name="T36" fmla="*/ 682 w 2301"/>
              <a:gd name="T37" fmla="*/ 293 h 425"/>
              <a:gd name="T38" fmla="*/ 704 w 2301"/>
              <a:gd name="T39" fmla="*/ 126 h 425"/>
              <a:gd name="T40" fmla="*/ 780 w 2301"/>
              <a:gd name="T41" fmla="*/ 240 h 425"/>
              <a:gd name="T42" fmla="*/ 808 w 2301"/>
              <a:gd name="T43" fmla="*/ 154 h 425"/>
              <a:gd name="T44" fmla="*/ 852 w 2301"/>
              <a:gd name="T45" fmla="*/ 154 h 425"/>
              <a:gd name="T46" fmla="*/ 878 w 2301"/>
              <a:gd name="T47" fmla="*/ 240 h 425"/>
              <a:gd name="T48" fmla="*/ 915 w 2301"/>
              <a:gd name="T49" fmla="*/ 101 h 425"/>
              <a:gd name="T50" fmla="*/ 990 w 2301"/>
              <a:gd name="T51" fmla="*/ 101 h 425"/>
              <a:gd name="T52" fmla="*/ 1041 w 2301"/>
              <a:gd name="T53" fmla="*/ 240 h 425"/>
              <a:gd name="T54" fmla="*/ 1069 w 2301"/>
              <a:gd name="T55" fmla="*/ 154 h 425"/>
              <a:gd name="T56" fmla="*/ 1113 w 2301"/>
              <a:gd name="T57" fmla="*/ 154 h 425"/>
              <a:gd name="T58" fmla="*/ 1140 w 2301"/>
              <a:gd name="T59" fmla="*/ 240 h 425"/>
              <a:gd name="T60" fmla="*/ 1161 w 2301"/>
              <a:gd name="T61" fmla="*/ 126 h 425"/>
              <a:gd name="T62" fmla="*/ 1237 w 2301"/>
              <a:gd name="T63" fmla="*/ 293 h 425"/>
              <a:gd name="T64" fmla="*/ 1335 w 2301"/>
              <a:gd name="T65" fmla="*/ 264 h 425"/>
              <a:gd name="T66" fmla="*/ 1377 w 2301"/>
              <a:gd name="T67" fmla="*/ 182 h 425"/>
              <a:gd name="T68" fmla="*/ 1422 w 2301"/>
              <a:gd name="T69" fmla="*/ 293 h 425"/>
              <a:gd name="T70" fmla="*/ 1443 w 2301"/>
              <a:gd name="T71" fmla="*/ 177 h 425"/>
              <a:gd name="T72" fmla="*/ 1465 w 2301"/>
              <a:gd name="T73" fmla="*/ 39 h 425"/>
              <a:gd name="T74" fmla="*/ 1492 w 2301"/>
              <a:gd name="T75" fmla="*/ 177 h 425"/>
              <a:gd name="T76" fmla="*/ 1540 w 2301"/>
              <a:gd name="T77" fmla="*/ 43 h 425"/>
              <a:gd name="T78" fmla="*/ 1618 w 2301"/>
              <a:gd name="T79" fmla="*/ 172 h 425"/>
              <a:gd name="T80" fmla="*/ 1639 w 2301"/>
              <a:gd name="T81" fmla="*/ 51 h 425"/>
              <a:gd name="T82" fmla="*/ 1695 w 2301"/>
              <a:gd name="T83" fmla="*/ 51 h 425"/>
              <a:gd name="T84" fmla="*/ 1716 w 2301"/>
              <a:gd name="T85" fmla="*/ 243 h 425"/>
              <a:gd name="T86" fmla="*/ 1735 w 2301"/>
              <a:gd name="T87" fmla="*/ 132 h 425"/>
              <a:gd name="T88" fmla="*/ 1759 w 2301"/>
              <a:gd name="T89" fmla="*/ 78 h 425"/>
              <a:gd name="T90" fmla="*/ 1799 w 2301"/>
              <a:gd name="T91" fmla="*/ 132 h 425"/>
              <a:gd name="T92" fmla="*/ 1813 w 2301"/>
              <a:gd name="T93" fmla="*/ 293 h 425"/>
              <a:gd name="T94" fmla="*/ 1836 w 2301"/>
              <a:gd name="T95" fmla="*/ 211 h 425"/>
              <a:gd name="T96" fmla="*/ 1909 w 2301"/>
              <a:gd name="T97" fmla="*/ 293 h 425"/>
              <a:gd name="T98" fmla="*/ 1921 w 2301"/>
              <a:gd name="T99" fmla="*/ 122 h 425"/>
              <a:gd name="T100" fmla="*/ 2008 w 2301"/>
              <a:gd name="T101" fmla="*/ 253 h 425"/>
              <a:gd name="T102" fmla="*/ 2019 w 2301"/>
              <a:gd name="T103" fmla="*/ 161 h 425"/>
              <a:gd name="T104" fmla="*/ 2086 w 2301"/>
              <a:gd name="T105" fmla="*/ 174 h 425"/>
              <a:gd name="T106" fmla="*/ 2116 w 2301"/>
              <a:gd name="T107" fmla="*/ 159 h 425"/>
              <a:gd name="T108" fmla="*/ 2140 w 2301"/>
              <a:gd name="T109" fmla="*/ 90 h 425"/>
              <a:gd name="T110" fmla="*/ 2193 w 2301"/>
              <a:gd name="T111" fmla="*/ 159 h 425"/>
              <a:gd name="T112" fmla="*/ 2214 w 2301"/>
              <a:gd name="T113" fmla="*/ 234 h 425"/>
              <a:gd name="T114" fmla="*/ 2255 w 2301"/>
              <a:gd name="T115" fmla="*/ 125 h 425"/>
              <a:gd name="T116" fmla="*/ 2281 w 2301"/>
              <a:gd name="T117" fmla="*/ 234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01" h="425">
                <a:moveTo>
                  <a:pt x="2301" y="234"/>
                </a:moveTo>
                <a:lnTo>
                  <a:pt x="2301" y="425"/>
                </a:lnTo>
                <a:lnTo>
                  <a:pt x="0" y="425"/>
                </a:lnTo>
                <a:lnTo>
                  <a:pt x="0" y="122"/>
                </a:lnTo>
                <a:lnTo>
                  <a:pt x="10" y="122"/>
                </a:lnTo>
                <a:lnTo>
                  <a:pt x="10" y="180"/>
                </a:lnTo>
                <a:lnTo>
                  <a:pt x="10" y="180"/>
                </a:lnTo>
                <a:lnTo>
                  <a:pt x="10" y="293"/>
                </a:lnTo>
                <a:lnTo>
                  <a:pt x="21" y="293"/>
                </a:lnTo>
                <a:lnTo>
                  <a:pt x="21" y="264"/>
                </a:lnTo>
                <a:lnTo>
                  <a:pt x="34" y="264"/>
                </a:lnTo>
                <a:lnTo>
                  <a:pt x="34" y="211"/>
                </a:lnTo>
                <a:lnTo>
                  <a:pt x="94" y="211"/>
                </a:lnTo>
                <a:lnTo>
                  <a:pt x="94" y="264"/>
                </a:lnTo>
                <a:lnTo>
                  <a:pt x="108" y="264"/>
                </a:lnTo>
                <a:lnTo>
                  <a:pt x="108" y="293"/>
                </a:lnTo>
                <a:lnTo>
                  <a:pt x="117" y="293"/>
                </a:lnTo>
                <a:lnTo>
                  <a:pt x="117" y="159"/>
                </a:lnTo>
                <a:lnTo>
                  <a:pt x="124" y="159"/>
                </a:lnTo>
                <a:lnTo>
                  <a:pt x="124" y="132"/>
                </a:lnTo>
                <a:lnTo>
                  <a:pt x="132" y="132"/>
                </a:lnTo>
                <a:lnTo>
                  <a:pt x="132" y="105"/>
                </a:lnTo>
                <a:lnTo>
                  <a:pt x="148" y="105"/>
                </a:lnTo>
                <a:lnTo>
                  <a:pt x="148" y="78"/>
                </a:lnTo>
                <a:lnTo>
                  <a:pt x="171" y="78"/>
                </a:lnTo>
                <a:lnTo>
                  <a:pt x="171" y="105"/>
                </a:lnTo>
                <a:lnTo>
                  <a:pt x="187" y="105"/>
                </a:lnTo>
                <a:lnTo>
                  <a:pt x="187" y="132"/>
                </a:lnTo>
                <a:lnTo>
                  <a:pt x="195" y="132"/>
                </a:lnTo>
                <a:lnTo>
                  <a:pt x="195" y="159"/>
                </a:lnTo>
                <a:lnTo>
                  <a:pt x="204" y="159"/>
                </a:lnTo>
                <a:lnTo>
                  <a:pt x="204" y="243"/>
                </a:lnTo>
                <a:lnTo>
                  <a:pt x="215" y="243"/>
                </a:lnTo>
                <a:lnTo>
                  <a:pt x="215" y="84"/>
                </a:lnTo>
                <a:lnTo>
                  <a:pt x="231" y="84"/>
                </a:lnTo>
                <a:lnTo>
                  <a:pt x="231" y="51"/>
                </a:lnTo>
                <a:lnTo>
                  <a:pt x="235" y="51"/>
                </a:lnTo>
                <a:lnTo>
                  <a:pt x="235" y="0"/>
                </a:lnTo>
                <a:lnTo>
                  <a:pt x="285" y="0"/>
                </a:lnTo>
                <a:lnTo>
                  <a:pt x="285" y="51"/>
                </a:lnTo>
                <a:lnTo>
                  <a:pt x="291" y="51"/>
                </a:lnTo>
                <a:lnTo>
                  <a:pt x="291" y="84"/>
                </a:lnTo>
                <a:lnTo>
                  <a:pt x="307" y="84"/>
                </a:lnTo>
                <a:lnTo>
                  <a:pt x="307" y="172"/>
                </a:lnTo>
                <a:lnTo>
                  <a:pt x="313" y="172"/>
                </a:lnTo>
                <a:lnTo>
                  <a:pt x="313" y="124"/>
                </a:lnTo>
                <a:lnTo>
                  <a:pt x="315" y="124"/>
                </a:lnTo>
                <a:lnTo>
                  <a:pt x="315" y="43"/>
                </a:lnTo>
                <a:lnTo>
                  <a:pt x="390" y="43"/>
                </a:lnTo>
                <a:lnTo>
                  <a:pt x="390" y="124"/>
                </a:lnTo>
                <a:lnTo>
                  <a:pt x="400" y="124"/>
                </a:lnTo>
                <a:lnTo>
                  <a:pt x="400" y="177"/>
                </a:lnTo>
                <a:lnTo>
                  <a:pt x="438" y="177"/>
                </a:lnTo>
                <a:lnTo>
                  <a:pt x="438" y="108"/>
                </a:lnTo>
                <a:lnTo>
                  <a:pt x="435" y="108"/>
                </a:lnTo>
                <a:lnTo>
                  <a:pt x="439" y="39"/>
                </a:lnTo>
                <a:lnTo>
                  <a:pt x="466" y="39"/>
                </a:lnTo>
                <a:lnTo>
                  <a:pt x="466" y="108"/>
                </a:lnTo>
                <a:lnTo>
                  <a:pt x="471" y="108"/>
                </a:lnTo>
                <a:lnTo>
                  <a:pt x="471" y="177"/>
                </a:lnTo>
                <a:lnTo>
                  <a:pt x="488" y="177"/>
                </a:lnTo>
                <a:lnTo>
                  <a:pt x="488" y="244"/>
                </a:lnTo>
                <a:lnTo>
                  <a:pt x="498" y="244"/>
                </a:lnTo>
                <a:lnTo>
                  <a:pt x="498" y="293"/>
                </a:lnTo>
                <a:lnTo>
                  <a:pt x="508" y="293"/>
                </a:lnTo>
                <a:lnTo>
                  <a:pt x="508" y="264"/>
                </a:lnTo>
                <a:lnTo>
                  <a:pt x="522" y="264"/>
                </a:lnTo>
                <a:lnTo>
                  <a:pt x="522" y="182"/>
                </a:lnTo>
                <a:lnTo>
                  <a:pt x="554" y="182"/>
                </a:lnTo>
                <a:lnTo>
                  <a:pt x="554" y="211"/>
                </a:lnTo>
                <a:lnTo>
                  <a:pt x="582" y="211"/>
                </a:lnTo>
                <a:lnTo>
                  <a:pt x="582" y="264"/>
                </a:lnTo>
                <a:lnTo>
                  <a:pt x="595" y="264"/>
                </a:lnTo>
                <a:lnTo>
                  <a:pt x="595" y="234"/>
                </a:lnTo>
                <a:lnTo>
                  <a:pt x="682" y="234"/>
                </a:lnTo>
                <a:lnTo>
                  <a:pt x="682" y="293"/>
                </a:lnTo>
                <a:lnTo>
                  <a:pt x="693" y="293"/>
                </a:lnTo>
                <a:lnTo>
                  <a:pt x="693" y="159"/>
                </a:lnTo>
                <a:lnTo>
                  <a:pt x="704" y="159"/>
                </a:lnTo>
                <a:lnTo>
                  <a:pt x="704" y="126"/>
                </a:lnTo>
                <a:lnTo>
                  <a:pt x="769" y="126"/>
                </a:lnTo>
                <a:lnTo>
                  <a:pt x="769" y="159"/>
                </a:lnTo>
                <a:lnTo>
                  <a:pt x="780" y="159"/>
                </a:lnTo>
                <a:lnTo>
                  <a:pt x="780" y="240"/>
                </a:lnTo>
                <a:lnTo>
                  <a:pt x="791" y="240"/>
                </a:lnTo>
                <a:lnTo>
                  <a:pt x="791" y="199"/>
                </a:lnTo>
                <a:lnTo>
                  <a:pt x="808" y="199"/>
                </a:lnTo>
                <a:lnTo>
                  <a:pt x="808" y="154"/>
                </a:lnTo>
                <a:lnTo>
                  <a:pt x="817" y="154"/>
                </a:lnTo>
                <a:lnTo>
                  <a:pt x="817" y="121"/>
                </a:lnTo>
                <a:lnTo>
                  <a:pt x="852" y="121"/>
                </a:lnTo>
                <a:lnTo>
                  <a:pt x="852" y="154"/>
                </a:lnTo>
                <a:lnTo>
                  <a:pt x="861" y="154"/>
                </a:lnTo>
                <a:lnTo>
                  <a:pt x="861" y="199"/>
                </a:lnTo>
                <a:lnTo>
                  <a:pt x="878" y="199"/>
                </a:lnTo>
                <a:lnTo>
                  <a:pt x="878" y="240"/>
                </a:lnTo>
                <a:lnTo>
                  <a:pt x="889" y="240"/>
                </a:lnTo>
                <a:lnTo>
                  <a:pt x="889" y="159"/>
                </a:lnTo>
                <a:lnTo>
                  <a:pt x="915" y="159"/>
                </a:lnTo>
                <a:lnTo>
                  <a:pt x="915" y="101"/>
                </a:lnTo>
                <a:lnTo>
                  <a:pt x="940" y="101"/>
                </a:lnTo>
                <a:lnTo>
                  <a:pt x="940" y="64"/>
                </a:lnTo>
                <a:lnTo>
                  <a:pt x="990" y="64"/>
                </a:lnTo>
                <a:lnTo>
                  <a:pt x="990" y="101"/>
                </a:lnTo>
                <a:lnTo>
                  <a:pt x="1015" y="101"/>
                </a:lnTo>
                <a:lnTo>
                  <a:pt x="1015" y="159"/>
                </a:lnTo>
                <a:lnTo>
                  <a:pt x="1041" y="159"/>
                </a:lnTo>
                <a:lnTo>
                  <a:pt x="1041" y="240"/>
                </a:lnTo>
                <a:lnTo>
                  <a:pt x="1053" y="240"/>
                </a:lnTo>
                <a:lnTo>
                  <a:pt x="1053" y="199"/>
                </a:lnTo>
                <a:lnTo>
                  <a:pt x="1069" y="199"/>
                </a:lnTo>
                <a:lnTo>
                  <a:pt x="1069" y="154"/>
                </a:lnTo>
                <a:lnTo>
                  <a:pt x="1079" y="154"/>
                </a:lnTo>
                <a:lnTo>
                  <a:pt x="1079" y="121"/>
                </a:lnTo>
                <a:lnTo>
                  <a:pt x="1113" y="121"/>
                </a:lnTo>
                <a:lnTo>
                  <a:pt x="1113" y="154"/>
                </a:lnTo>
                <a:lnTo>
                  <a:pt x="1123" y="154"/>
                </a:lnTo>
                <a:lnTo>
                  <a:pt x="1123" y="199"/>
                </a:lnTo>
                <a:lnTo>
                  <a:pt x="1140" y="199"/>
                </a:lnTo>
                <a:lnTo>
                  <a:pt x="1140" y="240"/>
                </a:lnTo>
                <a:lnTo>
                  <a:pt x="1150" y="240"/>
                </a:lnTo>
                <a:lnTo>
                  <a:pt x="1150" y="159"/>
                </a:lnTo>
                <a:lnTo>
                  <a:pt x="1161" y="159"/>
                </a:lnTo>
                <a:lnTo>
                  <a:pt x="1161" y="126"/>
                </a:lnTo>
                <a:lnTo>
                  <a:pt x="1227" y="126"/>
                </a:lnTo>
                <a:lnTo>
                  <a:pt x="1227" y="159"/>
                </a:lnTo>
                <a:lnTo>
                  <a:pt x="1237" y="159"/>
                </a:lnTo>
                <a:lnTo>
                  <a:pt x="1237" y="293"/>
                </a:lnTo>
                <a:lnTo>
                  <a:pt x="1248" y="293"/>
                </a:lnTo>
                <a:lnTo>
                  <a:pt x="1248" y="234"/>
                </a:lnTo>
                <a:lnTo>
                  <a:pt x="1335" y="234"/>
                </a:lnTo>
                <a:lnTo>
                  <a:pt x="1335" y="264"/>
                </a:lnTo>
                <a:lnTo>
                  <a:pt x="1348" y="264"/>
                </a:lnTo>
                <a:lnTo>
                  <a:pt x="1348" y="211"/>
                </a:lnTo>
                <a:lnTo>
                  <a:pt x="1377" y="211"/>
                </a:lnTo>
                <a:lnTo>
                  <a:pt x="1377" y="182"/>
                </a:lnTo>
                <a:lnTo>
                  <a:pt x="1408" y="182"/>
                </a:lnTo>
                <a:lnTo>
                  <a:pt x="1408" y="264"/>
                </a:lnTo>
                <a:lnTo>
                  <a:pt x="1422" y="264"/>
                </a:lnTo>
                <a:lnTo>
                  <a:pt x="1422" y="293"/>
                </a:lnTo>
                <a:lnTo>
                  <a:pt x="1433" y="293"/>
                </a:lnTo>
                <a:lnTo>
                  <a:pt x="1433" y="244"/>
                </a:lnTo>
                <a:lnTo>
                  <a:pt x="1443" y="244"/>
                </a:lnTo>
                <a:lnTo>
                  <a:pt x="1443" y="177"/>
                </a:lnTo>
                <a:lnTo>
                  <a:pt x="1459" y="177"/>
                </a:lnTo>
                <a:lnTo>
                  <a:pt x="1459" y="108"/>
                </a:lnTo>
                <a:lnTo>
                  <a:pt x="1465" y="108"/>
                </a:lnTo>
                <a:lnTo>
                  <a:pt x="1465" y="39"/>
                </a:lnTo>
                <a:lnTo>
                  <a:pt x="1492" y="39"/>
                </a:lnTo>
                <a:lnTo>
                  <a:pt x="1495" y="108"/>
                </a:lnTo>
                <a:lnTo>
                  <a:pt x="1492" y="108"/>
                </a:lnTo>
                <a:lnTo>
                  <a:pt x="1492" y="177"/>
                </a:lnTo>
                <a:lnTo>
                  <a:pt x="1531" y="177"/>
                </a:lnTo>
                <a:lnTo>
                  <a:pt x="1531" y="124"/>
                </a:lnTo>
                <a:lnTo>
                  <a:pt x="1540" y="124"/>
                </a:lnTo>
                <a:lnTo>
                  <a:pt x="1540" y="43"/>
                </a:lnTo>
                <a:lnTo>
                  <a:pt x="1616" y="43"/>
                </a:lnTo>
                <a:lnTo>
                  <a:pt x="1616" y="124"/>
                </a:lnTo>
                <a:lnTo>
                  <a:pt x="1618" y="124"/>
                </a:lnTo>
                <a:lnTo>
                  <a:pt x="1618" y="172"/>
                </a:lnTo>
                <a:lnTo>
                  <a:pt x="1624" y="172"/>
                </a:lnTo>
                <a:lnTo>
                  <a:pt x="1624" y="84"/>
                </a:lnTo>
                <a:lnTo>
                  <a:pt x="1639" y="84"/>
                </a:lnTo>
                <a:lnTo>
                  <a:pt x="1639" y="51"/>
                </a:lnTo>
                <a:lnTo>
                  <a:pt x="1645" y="51"/>
                </a:lnTo>
                <a:lnTo>
                  <a:pt x="1645" y="0"/>
                </a:lnTo>
                <a:lnTo>
                  <a:pt x="1695" y="0"/>
                </a:lnTo>
                <a:lnTo>
                  <a:pt x="1695" y="51"/>
                </a:lnTo>
                <a:lnTo>
                  <a:pt x="1700" y="51"/>
                </a:lnTo>
                <a:lnTo>
                  <a:pt x="1700" y="84"/>
                </a:lnTo>
                <a:lnTo>
                  <a:pt x="1716" y="84"/>
                </a:lnTo>
                <a:lnTo>
                  <a:pt x="1716" y="243"/>
                </a:lnTo>
                <a:lnTo>
                  <a:pt x="1726" y="243"/>
                </a:lnTo>
                <a:lnTo>
                  <a:pt x="1726" y="159"/>
                </a:lnTo>
                <a:lnTo>
                  <a:pt x="1735" y="159"/>
                </a:lnTo>
                <a:lnTo>
                  <a:pt x="1735" y="132"/>
                </a:lnTo>
                <a:lnTo>
                  <a:pt x="1743" y="132"/>
                </a:lnTo>
                <a:lnTo>
                  <a:pt x="1743" y="105"/>
                </a:lnTo>
                <a:lnTo>
                  <a:pt x="1759" y="105"/>
                </a:lnTo>
                <a:lnTo>
                  <a:pt x="1759" y="78"/>
                </a:lnTo>
                <a:lnTo>
                  <a:pt x="1782" y="78"/>
                </a:lnTo>
                <a:lnTo>
                  <a:pt x="1782" y="105"/>
                </a:lnTo>
                <a:lnTo>
                  <a:pt x="1799" y="105"/>
                </a:lnTo>
                <a:lnTo>
                  <a:pt x="1799" y="132"/>
                </a:lnTo>
                <a:lnTo>
                  <a:pt x="1806" y="132"/>
                </a:lnTo>
                <a:lnTo>
                  <a:pt x="1806" y="159"/>
                </a:lnTo>
                <a:lnTo>
                  <a:pt x="1813" y="159"/>
                </a:lnTo>
                <a:lnTo>
                  <a:pt x="1813" y="293"/>
                </a:lnTo>
                <a:lnTo>
                  <a:pt x="1823" y="293"/>
                </a:lnTo>
                <a:lnTo>
                  <a:pt x="1823" y="264"/>
                </a:lnTo>
                <a:lnTo>
                  <a:pt x="1836" y="264"/>
                </a:lnTo>
                <a:lnTo>
                  <a:pt x="1836" y="211"/>
                </a:lnTo>
                <a:lnTo>
                  <a:pt x="1896" y="211"/>
                </a:lnTo>
                <a:lnTo>
                  <a:pt x="1896" y="264"/>
                </a:lnTo>
                <a:lnTo>
                  <a:pt x="1909" y="264"/>
                </a:lnTo>
                <a:lnTo>
                  <a:pt x="1909" y="293"/>
                </a:lnTo>
                <a:lnTo>
                  <a:pt x="1921" y="293"/>
                </a:lnTo>
                <a:lnTo>
                  <a:pt x="1921" y="180"/>
                </a:lnTo>
                <a:lnTo>
                  <a:pt x="1921" y="180"/>
                </a:lnTo>
                <a:lnTo>
                  <a:pt x="1921" y="122"/>
                </a:lnTo>
                <a:lnTo>
                  <a:pt x="1989" y="122"/>
                </a:lnTo>
                <a:lnTo>
                  <a:pt x="1989" y="159"/>
                </a:lnTo>
                <a:lnTo>
                  <a:pt x="2008" y="159"/>
                </a:lnTo>
                <a:lnTo>
                  <a:pt x="2008" y="253"/>
                </a:lnTo>
                <a:lnTo>
                  <a:pt x="2019" y="253"/>
                </a:lnTo>
                <a:lnTo>
                  <a:pt x="2019" y="224"/>
                </a:lnTo>
                <a:lnTo>
                  <a:pt x="2019" y="224"/>
                </a:lnTo>
                <a:lnTo>
                  <a:pt x="2019" y="161"/>
                </a:lnTo>
                <a:lnTo>
                  <a:pt x="2038" y="174"/>
                </a:lnTo>
                <a:lnTo>
                  <a:pt x="2038" y="134"/>
                </a:lnTo>
                <a:lnTo>
                  <a:pt x="2086" y="134"/>
                </a:lnTo>
                <a:lnTo>
                  <a:pt x="2086" y="174"/>
                </a:lnTo>
                <a:lnTo>
                  <a:pt x="2106" y="161"/>
                </a:lnTo>
                <a:lnTo>
                  <a:pt x="2106" y="218"/>
                </a:lnTo>
                <a:lnTo>
                  <a:pt x="2116" y="218"/>
                </a:lnTo>
                <a:lnTo>
                  <a:pt x="2116" y="159"/>
                </a:lnTo>
                <a:lnTo>
                  <a:pt x="2127" y="159"/>
                </a:lnTo>
                <a:lnTo>
                  <a:pt x="2127" y="126"/>
                </a:lnTo>
                <a:lnTo>
                  <a:pt x="2140" y="126"/>
                </a:lnTo>
                <a:lnTo>
                  <a:pt x="2140" y="90"/>
                </a:lnTo>
                <a:lnTo>
                  <a:pt x="2182" y="90"/>
                </a:lnTo>
                <a:lnTo>
                  <a:pt x="2182" y="126"/>
                </a:lnTo>
                <a:lnTo>
                  <a:pt x="2193" y="126"/>
                </a:lnTo>
                <a:lnTo>
                  <a:pt x="2193" y="159"/>
                </a:lnTo>
                <a:lnTo>
                  <a:pt x="2203" y="159"/>
                </a:lnTo>
                <a:lnTo>
                  <a:pt x="2203" y="260"/>
                </a:lnTo>
                <a:lnTo>
                  <a:pt x="2214" y="260"/>
                </a:lnTo>
                <a:lnTo>
                  <a:pt x="2214" y="234"/>
                </a:lnTo>
                <a:lnTo>
                  <a:pt x="2236" y="234"/>
                </a:lnTo>
                <a:lnTo>
                  <a:pt x="2236" y="176"/>
                </a:lnTo>
                <a:lnTo>
                  <a:pt x="2255" y="176"/>
                </a:lnTo>
                <a:lnTo>
                  <a:pt x="2255" y="125"/>
                </a:lnTo>
                <a:lnTo>
                  <a:pt x="2263" y="125"/>
                </a:lnTo>
                <a:lnTo>
                  <a:pt x="2263" y="176"/>
                </a:lnTo>
                <a:lnTo>
                  <a:pt x="2281" y="176"/>
                </a:lnTo>
                <a:lnTo>
                  <a:pt x="2281" y="234"/>
                </a:lnTo>
                <a:lnTo>
                  <a:pt x="2301" y="2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6" name="Group 15">
            <a:extLst>
              <a:ext uri="{FF2B5EF4-FFF2-40B4-BE49-F238E27FC236}">
                <a16:creationId xmlns:a16="http://schemas.microsoft.com/office/drawing/2014/main" id="{E4A0A9EA-1D72-4B03-B077-A762734DCADB}"/>
              </a:ext>
            </a:extLst>
          </p:cNvPr>
          <p:cNvGrpSpPr/>
          <p:nvPr userDrawn="1"/>
        </p:nvGrpSpPr>
        <p:grpSpPr>
          <a:xfrm>
            <a:off x="8203269" y="2925966"/>
            <a:ext cx="2361568" cy="2089069"/>
            <a:chOff x="8219218" y="1658816"/>
            <a:chExt cx="3816414" cy="3146214"/>
          </a:xfrm>
        </p:grpSpPr>
        <p:sp>
          <p:nvSpPr>
            <p:cNvPr id="17" name="Rectangle 117">
              <a:extLst>
                <a:ext uri="{FF2B5EF4-FFF2-40B4-BE49-F238E27FC236}">
                  <a16:creationId xmlns:a16="http://schemas.microsoft.com/office/drawing/2014/main" id="{152D6DEB-F313-4840-9689-F5E120073005}"/>
                </a:ext>
              </a:extLst>
            </p:cNvPr>
            <p:cNvSpPr>
              <a:spLocks noChangeArrowheads="1"/>
            </p:cNvSpPr>
            <p:nvPr userDrawn="1"/>
          </p:nvSpPr>
          <p:spPr bwMode="auto">
            <a:xfrm>
              <a:off x="11474472" y="2182741"/>
              <a:ext cx="2660" cy="266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8" name="Freeform 118">
              <a:extLst>
                <a:ext uri="{FF2B5EF4-FFF2-40B4-BE49-F238E27FC236}">
                  <a16:creationId xmlns:a16="http://schemas.microsoft.com/office/drawing/2014/main" id="{47EE5AC8-4E33-401B-A686-655AC85D8F06}"/>
                </a:ext>
              </a:extLst>
            </p:cNvPr>
            <p:cNvSpPr>
              <a:spLocks/>
            </p:cNvSpPr>
            <p:nvPr userDrawn="1"/>
          </p:nvSpPr>
          <p:spPr bwMode="auto">
            <a:xfrm>
              <a:off x="8860164" y="2653477"/>
              <a:ext cx="2287188" cy="2029215"/>
            </a:xfrm>
            <a:custGeom>
              <a:avLst/>
              <a:gdLst>
                <a:gd name="T0" fmla="*/ 162 w 590"/>
                <a:gd name="T1" fmla="*/ 526 h 526"/>
                <a:gd name="T2" fmla="*/ 0 w 590"/>
                <a:gd name="T3" fmla="*/ 526 h 526"/>
                <a:gd name="T4" fmla="*/ 0 w 590"/>
                <a:gd name="T5" fmla="*/ 514 h 526"/>
                <a:gd name="T6" fmla="*/ 162 w 590"/>
                <a:gd name="T7" fmla="*/ 514 h 526"/>
                <a:gd name="T8" fmla="*/ 241 w 590"/>
                <a:gd name="T9" fmla="*/ 434 h 526"/>
                <a:gd name="T10" fmla="*/ 241 w 590"/>
                <a:gd name="T11" fmla="*/ 283 h 526"/>
                <a:gd name="T12" fmla="*/ 333 w 590"/>
                <a:gd name="T13" fmla="*/ 192 h 526"/>
                <a:gd name="T14" fmla="*/ 499 w 590"/>
                <a:gd name="T15" fmla="*/ 192 h 526"/>
                <a:gd name="T16" fmla="*/ 578 w 590"/>
                <a:gd name="T17" fmla="*/ 112 h 526"/>
                <a:gd name="T18" fmla="*/ 578 w 590"/>
                <a:gd name="T19" fmla="*/ 0 h 526"/>
                <a:gd name="T20" fmla="*/ 590 w 590"/>
                <a:gd name="T21" fmla="*/ 0 h 526"/>
                <a:gd name="T22" fmla="*/ 590 w 590"/>
                <a:gd name="T23" fmla="*/ 112 h 526"/>
                <a:gd name="T24" fmla="*/ 499 w 590"/>
                <a:gd name="T25" fmla="*/ 204 h 526"/>
                <a:gd name="T26" fmla="*/ 333 w 590"/>
                <a:gd name="T27" fmla="*/ 204 h 526"/>
                <a:gd name="T28" fmla="*/ 253 w 590"/>
                <a:gd name="T29" fmla="*/ 283 h 526"/>
                <a:gd name="T30" fmla="*/ 253 w 590"/>
                <a:gd name="T31" fmla="*/ 434 h 526"/>
                <a:gd name="T32" fmla="*/ 162 w 590"/>
                <a:gd name="T33" fmla="*/ 526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90" h="526">
                  <a:moveTo>
                    <a:pt x="162" y="526"/>
                  </a:moveTo>
                  <a:cubicBezTo>
                    <a:pt x="0" y="526"/>
                    <a:pt x="0" y="526"/>
                    <a:pt x="0" y="526"/>
                  </a:cubicBezTo>
                  <a:cubicBezTo>
                    <a:pt x="0" y="514"/>
                    <a:pt x="0" y="514"/>
                    <a:pt x="0" y="514"/>
                  </a:cubicBezTo>
                  <a:cubicBezTo>
                    <a:pt x="162" y="514"/>
                    <a:pt x="162" y="514"/>
                    <a:pt x="162" y="514"/>
                  </a:cubicBezTo>
                  <a:cubicBezTo>
                    <a:pt x="206" y="514"/>
                    <a:pt x="241" y="478"/>
                    <a:pt x="241" y="434"/>
                  </a:cubicBezTo>
                  <a:cubicBezTo>
                    <a:pt x="241" y="283"/>
                    <a:pt x="241" y="283"/>
                    <a:pt x="241" y="283"/>
                  </a:cubicBezTo>
                  <a:cubicBezTo>
                    <a:pt x="241" y="233"/>
                    <a:pt x="282" y="192"/>
                    <a:pt x="333" y="192"/>
                  </a:cubicBezTo>
                  <a:cubicBezTo>
                    <a:pt x="499" y="192"/>
                    <a:pt x="499" y="192"/>
                    <a:pt x="499" y="192"/>
                  </a:cubicBezTo>
                  <a:cubicBezTo>
                    <a:pt x="542" y="192"/>
                    <a:pt x="578" y="156"/>
                    <a:pt x="578" y="112"/>
                  </a:cubicBezTo>
                  <a:cubicBezTo>
                    <a:pt x="578" y="0"/>
                    <a:pt x="578" y="0"/>
                    <a:pt x="578" y="0"/>
                  </a:cubicBezTo>
                  <a:cubicBezTo>
                    <a:pt x="590" y="0"/>
                    <a:pt x="590" y="0"/>
                    <a:pt x="590" y="0"/>
                  </a:cubicBezTo>
                  <a:cubicBezTo>
                    <a:pt x="590" y="112"/>
                    <a:pt x="590" y="112"/>
                    <a:pt x="590" y="112"/>
                  </a:cubicBezTo>
                  <a:cubicBezTo>
                    <a:pt x="590" y="163"/>
                    <a:pt x="549" y="204"/>
                    <a:pt x="499" y="204"/>
                  </a:cubicBezTo>
                  <a:cubicBezTo>
                    <a:pt x="333" y="204"/>
                    <a:pt x="333" y="204"/>
                    <a:pt x="333" y="204"/>
                  </a:cubicBezTo>
                  <a:cubicBezTo>
                    <a:pt x="289" y="204"/>
                    <a:pt x="253" y="239"/>
                    <a:pt x="253" y="283"/>
                  </a:cubicBezTo>
                  <a:cubicBezTo>
                    <a:pt x="253" y="434"/>
                    <a:pt x="253" y="434"/>
                    <a:pt x="253" y="434"/>
                  </a:cubicBezTo>
                  <a:cubicBezTo>
                    <a:pt x="253" y="485"/>
                    <a:pt x="212" y="526"/>
                    <a:pt x="162" y="5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 name="Freeform 119">
              <a:extLst>
                <a:ext uri="{FF2B5EF4-FFF2-40B4-BE49-F238E27FC236}">
                  <a16:creationId xmlns:a16="http://schemas.microsoft.com/office/drawing/2014/main" id="{FA277C21-003B-4A3A-8D1B-1FE9E3B81F4A}"/>
                </a:ext>
              </a:extLst>
            </p:cNvPr>
            <p:cNvSpPr>
              <a:spLocks/>
            </p:cNvSpPr>
            <p:nvPr userDrawn="1"/>
          </p:nvSpPr>
          <p:spPr bwMode="auto">
            <a:xfrm>
              <a:off x="10213859" y="1658816"/>
              <a:ext cx="1821773" cy="1021256"/>
            </a:xfrm>
            <a:custGeom>
              <a:avLst/>
              <a:gdLst>
                <a:gd name="T0" fmla="*/ 194 w 470"/>
                <a:gd name="T1" fmla="*/ 52 h 265"/>
                <a:gd name="T2" fmla="*/ 283 w 470"/>
                <a:gd name="T3" fmla="*/ 0 h 265"/>
                <a:gd name="T4" fmla="*/ 386 w 470"/>
                <a:gd name="T5" fmla="*/ 101 h 265"/>
                <a:gd name="T6" fmla="*/ 387 w 470"/>
                <a:gd name="T7" fmla="*/ 101 h 265"/>
                <a:gd name="T8" fmla="*/ 470 w 470"/>
                <a:gd name="T9" fmla="*/ 183 h 265"/>
                <a:gd name="T10" fmla="*/ 387 w 470"/>
                <a:gd name="T11" fmla="*/ 265 h 265"/>
                <a:gd name="T12" fmla="*/ 66 w 470"/>
                <a:gd name="T13" fmla="*/ 265 h 265"/>
                <a:gd name="T14" fmla="*/ 0 w 470"/>
                <a:gd name="T15" fmla="*/ 200 h 265"/>
                <a:gd name="T16" fmla="*/ 64 w 470"/>
                <a:gd name="T17" fmla="*/ 134 h 265"/>
                <a:gd name="T18" fmla="*/ 63 w 470"/>
                <a:gd name="T19" fmla="*/ 118 h 265"/>
                <a:gd name="T20" fmla="*/ 145 w 470"/>
                <a:gd name="T21" fmla="*/ 35 h 265"/>
                <a:gd name="T22" fmla="*/ 194 w 470"/>
                <a:gd name="T23" fmla="*/ 5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65">
                  <a:moveTo>
                    <a:pt x="194" y="52"/>
                  </a:moveTo>
                  <a:cubicBezTo>
                    <a:pt x="212" y="21"/>
                    <a:pt x="245" y="0"/>
                    <a:pt x="283" y="0"/>
                  </a:cubicBezTo>
                  <a:cubicBezTo>
                    <a:pt x="340" y="0"/>
                    <a:pt x="385" y="45"/>
                    <a:pt x="386" y="101"/>
                  </a:cubicBezTo>
                  <a:cubicBezTo>
                    <a:pt x="387" y="101"/>
                    <a:pt x="387" y="101"/>
                    <a:pt x="387" y="101"/>
                  </a:cubicBezTo>
                  <a:cubicBezTo>
                    <a:pt x="433" y="101"/>
                    <a:pt x="470" y="138"/>
                    <a:pt x="470" y="183"/>
                  </a:cubicBezTo>
                  <a:cubicBezTo>
                    <a:pt x="470" y="229"/>
                    <a:pt x="433" y="265"/>
                    <a:pt x="387" y="265"/>
                  </a:cubicBezTo>
                  <a:cubicBezTo>
                    <a:pt x="66" y="265"/>
                    <a:pt x="66" y="265"/>
                    <a:pt x="66" y="265"/>
                  </a:cubicBezTo>
                  <a:cubicBezTo>
                    <a:pt x="30" y="265"/>
                    <a:pt x="0" y="236"/>
                    <a:pt x="0" y="200"/>
                  </a:cubicBezTo>
                  <a:cubicBezTo>
                    <a:pt x="0" y="164"/>
                    <a:pt x="29" y="135"/>
                    <a:pt x="64" y="134"/>
                  </a:cubicBezTo>
                  <a:cubicBezTo>
                    <a:pt x="63" y="129"/>
                    <a:pt x="63" y="123"/>
                    <a:pt x="63" y="118"/>
                  </a:cubicBezTo>
                  <a:cubicBezTo>
                    <a:pt x="63" y="72"/>
                    <a:pt x="99" y="35"/>
                    <a:pt x="145" y="35"/>
                  </a:cubicBezTo>
                  <a:cubicBezTo>
                    <a:pt x="163" y="35"/>
                    <a:pt x="180" y="41"/>
                    <a:pt x="194" y="5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0" name="Freeform 120">
              <a:extLst>
                <a:ext uri="{FF2B5EF4-FFF2-40B4-BE49-F238E27FC236}">
                  <a16:creationId xmlns:a16="http://schemas.microsoft.com/office/drawing/2014/main" id="{30DBB117-27A2-40E1-B084-487DC0D15B7C}"/>
                </a:ext>
              </a:extLst>
            </p:cNvPr>
            <p:cNvSpPr>
              <a:spLocks/>
            </p:cNvSpPr>
            <p:nvPr userDrawn="1"/>
          </p:nvSpPr>
          <p:spPr bwMode="auto">
            <a:xfrm>
              <a:off x="10277688" y="2076360"/>
              <a:ext cx="1757944" cy="603712"/>
            </a:xfrm>
            <a:custGeom>
              <a:avLst/>
              <a:gdLst>
                <a:gd name="T0" fmla="*/ 405 w 454"/>
                <a:gd name="T1" fmla="*/ 0 h 157"/>
                <a:gd name="T2" fmla="*/ 428 w 454"/>
                <a:gd name="T3" fmla="*/ 57 h 157"/>
                <a:gd name="T4" fmla="*/ 346 w 454"/>
                <a:gd name="T5" fmla="*/ 139 h 157"/>
                <a:gd name="T6" fmla="*/ 24 w 454"/>
                <a:gd name="T7" fmla="*/ 139 h 157"/>
                <a:gd name="T8" fmla="*/ 0 w 454"/>
                <a:gd name="T9" fmla="*/ 135 h 157"/>
                <a:gd name="T10" fmla="*/ 50 w 454"/>
                <a:gd name="T11" fmla="*/ 157 h 157"/>
                <a:gd name="T12" fmla="*/ 371 w 454"/>
                <a:gd name="T13" fmla="*/ 157 h 157"/>
                <a:gd name="T14" fmla="*/ 454 w 454"/>
                <a:gd name="T15" fmla="*/ 75 h 157"/>
                <a:gd name="T16" fmla="*/ 405 w 454"/>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157">
                  <a:moveTo>
                    <a:pt x="405" y="0"/>
                  </a:moveTo>
                  <a:cubicBezTo>
                    <a:pt x="420" y="15"/>
                    <a:pt x="428" y="35"/>
                    <a:pt x="428" y="57"/>
                  </a:cubicBezTo>
                  <a:cubicBezTo>
                    <a:pt x="428" y="102"/>
                    <a:pt x="391" y="139"/>
                    <a:pt x="346" y="139"/>
                  </a:cubicBezTo>
                  <a:cubicBezTo>
                    <a:pt x="24" y="139"/>
                    <a:pt x="24" y="139"/>
                    <a:pt x="24" y="139"/>
                  </a:cubicBezTo>
                  <a:cubicBezTo>
                    <a:pt x="16" y="139"/>
                    <a:pt x="8" y="138"/>
                    <a:pt x="0" y="135"/>
                  </a:cubicBezTo>
                  <a:cubicBezTo>
                    <a:pt x="12" y="149"/>
                    <a:pt x="30" y="157"/>
                    <a:pt x="50" y="157"/>
                  </a:cubicBezTo>
                  <a:cubicBezTo>
                    <a:pt x="371" y="157"/>
                    <a:pt x="371" y="157"/>
                    <a:pt x="371" y="157"/>
                  </a:cubicBezTo>
                  <a:cubicBezTo>
                    <a:pt x="417" y="157"/>
                    <a:pt x="454" y="121"/>
                    <a:pt x="454" y="75"/>
                  </a:cubicBezTo>
                  <a:cubicBezTo>
                    <a:pt x="454" y="42"/>
                    <a:pt x="434" y="13"/>
                    <a:pt x="405"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1" name="Freeform 121">
              <a:extLst>
                <a:ext uri="{FF2B5EF4-FFF2-40B4-BE49-F238E27FC236}">
                  <a16:creationId xmlns:a16="http://schemas.microsoft.com/office/drawing/2014/main" id="{A979BB99-0B05-4B6E-BF6C-40B84C979F6D}"/>
                </a:ext>
              </a:extLst>
            </p:cNvPr>
            <p:cNvSpPr>
              <a:spLocks/>
            </p:cNvSpPr>
            <p:nvPr userDrawn="1"/>
          </p:nvSpPr>
          <p:spPr bwMode="auto">
            <a:xfrm>
              <a:off x="8219218" y="4560352"/>
              <a:ext cx="119679" cy="196804"/>
            </a:xfrm>
            <a:custGeom>
              <a:avLst/>
              <a:gdLst>
                <a:gd name="T0" fmla="*/ 22 w 31"/>
                <a:gd name="T1" fmla="*/ 0 h 51"/>
                <a:gd name="T2" fmla="*/ 0 w 31"/>
                <a:gd name="T3" fmla="*/ 0 h 51"/>
                <a:gd name="T4" fmla="*/ 0 w 31"/>
                <a:gd name="T5" fmla="*/ 51 h 51"/>
                <a:gd name="T6" fmla="*/ 22 w 31"/>
                <a:gd name="T7" fmla="*/ 51 h 51"/>
                <a:gd name="T8" fmla="*/ 31 w 31"/>
                <a:gd name="T9" fmla="*/ 43 h 51"/>
                <a:gd name="T10" fmla="*/ 31 w 31"/>
                <a:gd name="T11" fmla="*/ 9 h 51"/>
                <a:gd name="T12" fmla="*/ 22 w 31"/>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31" h="51">
                  <a:moveTo>
                    <a:pt x="22" y="0"/>
                  </a:moveTo>
                  <a:cubicBezTo>
                    <a:pt x="0" y="0"/>
                    <a:pt x="0" y="0"/>
                    <a:pt x="0" y="0"/>
                  </a:cubicBezTo>
                  <a:cubicBezTo>
                    <a:pt x="0" y="51"/>
                    <a:pt x="0" y="51"/>
                    <a:pt x="0" y="51"/>
                  </a:cubicBezTo>
                  <a:cubicBezTo>
                    <a:pt x="22" y="51"/>
                    <a:pt x="22" y="51"/>
                    <a:pt x="22" y="51"/>
                  </a:cubicBezTo>
                  <a:cubicBezTo>
                    <a:pt x="27" y="51"/>
                    <a:pt x="31" y="48"/>
                    <a:pt x="31" y="43"/>
                  </a:cubicBezTo>
                  <a:cubicBezTo>
                    <a:pt x="31" y="9"/>
                    <a:pt x="31" y="9"/>
                    <a:pt x="31" y="9"/>
                  </a:cubicBezTo>
                  <a:cubicBezTo>
                    <a:pt x="31" y="4"/>
                    <a:pt x="27" y="0"/>
                    <a:pt x="2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2" name="Freeform 122">
              <a:extLst>
                <a:ext uri="{FF2B5EF4-FFF2-40B4-BE49-F238E27FC236}">
                  <a16:creationId xmlns:a16="http://schemas.microsoft.com/office/drawing/2014/main" id="{5CBBC5E3-D11E-4195-A716-BA2A2BB03558}"/>
                </a:ext>
              </a:extLst>
            </p:cNvPr>
            <p:cNvSpPr>
              <a:spLocks/>
            </p:cNvSpPr>
            <p:nvPr userDrawn="1"/>
          </p:nvSpPr>
          <p:spPr bwMode="auto">
            <a:xfrm>
              <a:off x="8860164" y="4597585"/>
              <a:ext cx="101062" cy="119679"/>
            </a:xfrm>
            <a:custGeom>
              <a:avLst/>
              <a:gdLst>
                <a:gd name="T0" fmla="*/ 11 w 26"/>
                <a:gd name="T1" fmla="*/ 31 h 31"/>
                <a:gd name="T2" fmla="*/ 26 w 26"/>
                <a:gd name="T3" fmla="*/ 16 h 31"/>
                <a:gd name="T4" fmla="*/ 11 w 26"/>
                <a:gd name="T5" fmla="*/ 0 h 31"/>
                <a:gd name="T6" fmla="*/ 0 w 26"/>
                <a:gd name="T7" fmla="*/ 0 h 31"/>
                <a:gd name="T8" fmla="*/ 0 w 26"/>
                <a:gd name="T9" fmla="*/ 31 h 31"/>
                <a:gd name="T10" fmla="*/ 11 w 26"/>
                <a:gd name="T11" fmla="*/ 31 h 31"/>
              </a:gdLst>
              <a:ahLst/>
              <a:cxnLst>
                <a:cxn ang="0">
                  <a:pos x="T0" y="T1"/>
                </a:cxn>
                <a:cxn ang="0">
                  <a:pos x="T2" y="T3"/>
                </a:cxn>
                <a:cxn ang="0">
                  <a:pos x="T4" y="T5"/>
                </a:cxn>
                <a:cxn ang="0">
                  <a:pos x="T6" y="T7"/>
                </a:cxn>
                <a:cxn ang="0">
                  <a:pos x="T8" y="T9"/>
                </a:cxn>
                <a:cxn ang="0">
                  <a:pos x="T10" y="T11"/>
                </a:cxn>
              </a:cxnLst>
              <a:rect l="0" t="0" r="r" b="b"/>
              <a:pathLst>
                <a:path w="26" h="31">
                  <a:moveTo>
                    <a:pt x="11" y="31"/>
                  </a:moveTo>
                  <a:cubicBezTo>
                    <a:pt x="19" y="31"/>
                    <a:pt x="26" y="24"/>
                    <a:pt x="26" y="16"/>
                  </a:cubicBezTo>
                  <a:cubicBezTo>
                    <a:pt x="26" y="7"/>
                    <a:pt x="19" y="0"/>
                    <a:pt x="11" y="0"/>
                  </a:cubicBezTo>
                  <a:cubicBezTo>
                    <a:pt x="0" y="0"/>
                    <a:pt x="0" y="0"/>
                    <a:pt x="0" y="0"/>
                  </a:cubicBezTo>
                  <a:cubicBezTo>
                    <a:pt x="0" y="31"/>
                    <a:pt x="0" y="31"/>
                    <a:pt x="0" y="31"/>
                  </a:cubicBezTo>
                  <a:lnTo>
                    <a:pt x="11" y="3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3" name="Freeform 123">
              <a:extLst>
                <a:ext uri="{FF2B5EF4-FFF2-40B4-BE49-F238E27FC236}">
                  <a16:creationId xmlns:a16="http://schemas.microsoft.com/office/drawing/2014/main" id="{662702DC-698E-454A-8ED3-DE28379639FF}"/>
                </a:ext>
              </a:extLst>
            </p:cNvPr>
            <p:cNvSpPr>
              <a:spLocks/>
            </p:cNvSpPr>
            <p:nvPr userDrawn="1"/>
          </p:nvSpPr>
          <p:spPr bwMode="auto">
            <a:xfrm>
              <a:off x="8267090" y="4509822"/>
              <a:ext cx="598393" cy="295208"/>
            </a:xfrm>
            <a:custGeom>
              <a:avLst/>
              <a:gdLst>
                <a:gd name="T0" fmla="*/ 154 w 154"/>
                <a:gd name="T1" fmla="*/ 23 h 77"/>
                <a:gd name="T2" fmla="*/ 121 w 154"/>
                <a:gd name="T3" fmla="*/ 4 h 77"/>
                <a:gd name="T4" fmla="*/ 105 w 154"/>
                <a:gd name="T5" fmla="*/ 0 h 77"/>
                <a:gd name="T6" fmla="*/ 8 w 154"/>
                <a:gd name="T7" fmla="*/ 0 h 77"/>
                <a:gd name="T8" fmla="*/ 0 w 154"/>
                <a:gd name="T9" fmla="*/ 9 h 77"/>
                <a:gd name="T10" fmla="*/ 0 w 154"/>
                <a:gd name="T11" fmla="*/ 68 h 77"/>
                <a:gd name="T12" fmla="*/ 8 w 154"/>
                <a:gd name="T13" fmla="*/ 77 h 77"/>
                <a:gd name="T14" fmla="*/ 105 w 154"/>
                <a:gd name="T15" fmla="*/ 77 h 77"/>
                <a:gd name="T16" fmla="*/ 121 w 154"/>
                <a:gd name="T17" fmla="*/ 73 h 77"/>
                <a:gd name="T18" fmla="*/ 154 w 154"/>
                <a:gd name="T19" fmla="*/ 54 h 77"/>
                <a:gd name="T20" fmla="*/ 154 w 154"/>
                <a:gd name="T21" fmla="*/ 23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4" h="77">
                  <a:moveTo>
                    <a:pt x="154" y="23"/>
                  </a:moveTo>
                  <a:cubicBezTo>
                    <a:pt x="121" y="4"/>
                    <a:pt x="121" y="4"/>
                    <a:pt x="121" y="4"/>
                  </a:cubicBezTo>
                  <a:cubicBezTo>
                    <a:pt x="117" y="2"/>
                    <a:pt x="110" y="0"/>
                    <a:pt x="105" y="0"/>
                  </a:cubicBezTo>
                  <a:cubicBezTo>
                    <a:pt x="8" y="0"/>
                    <a:pt x="8" y="0"/>
                    <a:pt x="8" y="0"/>
                  </a:cubicBezTo>
                  <a:cubicBezTo>
                    <a:pt x="4" y="0"/>
                    <a:pt x="0" y="4"/>
                    <a:pt x="0" y="9"/>
                  </a:cubicBezTo>
                  <a:cubicBezTo>
                    <a:pt x="0" y="68"/>
                    <a:pt x="0" y="68"/>
                    <a:pt x="0" y="68"/>
                  </a:cubicBezTo>
                  <a:cubicBezTo>
                    <a:pt x="0" y="73"/>
                    <a:pt x="4" y="77"/>
                    <a:pt x="8" y="77"/>
                  </a:cubicBezTo>
                  <a:cubicBezTo>
                    <a:pt x="105" y="77"/>
                    <a:pt x="105" y="77"/>
                    <a:pt x="105" y="77"/>
                  </a:cubicBezTo>
                  <a:cubicBezTo>
                    <a:pt x="110" y="77"/>
                    <a:pt x="117" y="75"/>
                    <a:pt x="121" y="73"/>
                  </a:cubicBezTo>
                  <a:cubicBezTo>
                    <a:pt x="154" y="54"/>
                    <a:pt x="154" y="54"/>
                    <a:pt x="154" y="54"/>
                  </a:cubicBezTo>
                  <a:lnTo>
                    <a:pt x="154" y="23"/>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4" name="Freeform 124">
              <a:extLst>
                <a:ext uri="{FF2B5EF4-FFF2-40B4-BE49-F238E27FC236}">
                  <a16:creationId xmlns:a16="http://schemas.microsoft.com/office/drawing/2014/main" id="{2F26795F-DD2F-495C-B65F-D1743C314C12}"/>
                </a:ext>
              </a:extLst>
            </p:cNvPr>
            <p:cNvSpPr>
              <a:spLocks/>
            </p:cNvSpPr>
            <p:nvPr userDrawn="1"/>
          </p:nvSpPr>
          <p:spPr bwMode="auto">
            <a:xfrm>
              <a:off x="8267090" y="4512480"/>
              <a:ext cx="598393" cy="292547"/>
            </a:xfrm>
            <a:custGeom>
              <a:avLst/>
              <a:gdLst>
                <a:gd name="T0" fmla="*/ 5 w 154"/>
                <a:gd name="T1" fmla="*/ 0 h 76"/>
                <a:gd name="T2" fmla="*/ 5 w 154"/>
                <a:gd name="T3" fmla="*/ 59 h 76"/>
                <a:gd name="T4" fmla="*/ 13 w 154"/>
                <a:gd name="T5" fmla="*/ 67 h 76"/>
                <a:gd name="T6" fmla="*/ 110 w 154"/>
                <a:gd name="T7" fmla="*/ 67 h 76"/>
                <a:gd name="T8" fmla="*/ 126 w 154"/>
                <a:gd name="T9" fmla="*/ 64 h 76"/>
                <a:gd name="T10" fmla="*/ 154 w 154"/>
                <a:gd name="T11" fmla="*/ 47 h 76"/>
                <a:gd name="T12" fmla="*/ 154 w 154"/>
                <a:gd name="T13" fmla="*/ 53 h 76"/>
                <a:gd name="T14" fmla="*/ 121 w 154"/>
                <a:gd name="T15" fmla="*/ 72 h 76"/>
                <a:gd name="T16" fmla="*/ 105 w 154"/>
                <a:gd name="T17" fmla="*/ 76 h 76"/>
                <a:gd name="T18" fmla="*/ 8 w 154"/>
                <a:gd name="T19" fmla="*/ 76 h 76"/>
                <a:gd name="T20" fmla="*/ 0 w 154"/>
                <a:gd name="T21" fmla="*/ 67 h 76"/>
                <a:gd name="T22" fmla="*/ 0 w 154"/>
                <a:gd name="T23" fmla="*/ 8 h 76"/>
                <a:gd name="T24" fmla="*/ 5 w 154"/>
                <a:gd name="T2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4" h="76">
                  <a:moveTo>
                    <a:pt x="5" y="0"/>
                  </a:moveTo>
                  <a:cubicBezTo>
                    <a:pt x="5" y="59"/>
                    <a:pt x="5" y="59"/>
                    <a:pt x="5" y="59"/>
                  </a:cubicBezTo>
                  <a:cubicBezTo>
                    <a:pt x="5" y="64"/>
                    <a:pt x="9" y="67"/>
                    <a:pt x="13" y="67"/>
                  </a:cubicBezTo>
                  <a:cubicBezTo>
                    <a:pt x="110" y="67"/>
                    <a:pt x="110" y="67"/>
                    <a:pt x="110" y="67"/>
                  </a:cubicBezTo>
                  <a:cubicBezTo>
                    <a:pt x="115" y="67"/>
                    <a:pt x="122" y="66"/>
                    <a:pt x="126" y="64"/>
                  </a:cubicBezTo>
                  <a:cubicBezTo>
                    <a:pt x="154" y="47"/>
                    <a:pt x="154" y="47"/>
                    <a:pt x="154" y="47"/>
                  </a:cubicBezTo>
                  <a:cubicBezTo>
                    <a:pt x="154" y="53"/>
                    <a:pt x="154" y="53"/>
                    <a:pt x="154" y="53"/>
                  </a:cubicBezTo>
                  <a:cubicBezTo>
                    <a:pt x="121" y="72"/>
                    <a:pt x="121" y="72"/>
                    <a:pt x="121" y="72"/>
                  </a:cubicBezTo>
                  <a:cubicBezTo>
                    <a:pt x="117" y="74"/>
                    <a:pt x="110" y="76"/>
                    <a:pt x="105" y="76"/>
                  </a:cubicBezTo>
                  <a:cubicBezTo>
                    <a:pt x="8" y="76"/>
                    <a:pt x="8" y="76"/>
                    <a:pt x="8" y="76"/>
                  </a:cubicBezTo>
                  <a:cubicBezTo>
                    <a:pt x="4" y="76"/>
                    <a:pt x="0" y="72"/>
                    <a:pt x="0" y="67"/>
                  </a:cubicBezTo>
                  <a:cubicBezTo>
                    <a:pt x="0" y="8"/>
                    <a:pt x="0" y="8"/>
                    <a:pt x="0" y="8"/>
                  </a:cubicBezTo>
                  <a:cubicBezTo>
                    <a:pt x="0" y="5"/>
                    <a:pt x="2" y="2"/>
                    <a:pt x="5" y="0"/>
                  </a:cubicBezTo>
                  <a:close/>
                </a:path>
              </a:pathLst>
            </a:custGeom>
            <a:solidFill>
              <a:srgbClr val="C86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5" name="Rectangle 125">
              <a:extLst>
                <a:ext uri="{FF2B5EF4-FFF2-40B4-BE49-F238E27FC236}">
                  <a16:creationId xmlns:a16="http://schemas.microsoft.com/office/drawing/2014/main" id="{0AFFE1CB-5B49-4478-9448-59BC06330D82}"/>
                </a:ext>
              </a:extLst>
            </p:cNvPr>
            <p:cNvSpPr>
              <a:spLocks noChangeArrowheads="1"/>
            </p:cNvSpPr>
            <p:nvPr userDrawn="1"/>
          </p:nvSpPr>
          <p:spPr bwMode="auto">
            <a:xfrm>
              <a:off x="8219218" y="4706626"/>
              <a:ext cx="47871" cy="5053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6" name="Freeform 126">
              <a:extLst>
                <a:ext uri="{FF2B5EF4-FFF2-40B4-BE49-F238E27FC236}">
                  <a16:creationId xmlns:a16="http://schemas.microsoft.com/office/drawing/2014/main" id="{90FEE50E-B757-4A7D-8439-3AD720E5759A}"/>
                </a:ext>
              </a:extLst>
            </p:cNvPr>
            <p:cNvSpPr>
              <a:spLocks/>
            </p:cNvSpPr>
            <p:nvPr userDrawn="1"/>
          </p:nvSpPr>
          <p:spPr bwMode="auto">
            <a:xfrm>
              <a:off x="8860164" y="4648117"/>
              <a:ext cx="101062" cy="69148"/>
            </a:xfrm>
            <a:custGeom>
              <a:avLst/>
              <a:gdLst>
                <a:gd name="T0" fmla="*/ 26 w 26"/>
                <a:gd name="T1" fmla="*/ 0 h 18"/>
                <a:gd name="T2" fmla="*/ 26 w 26"/>
                <a:gd name="T3" fmla="*/ 3 h 18"/>
                <a:gd name="T4" fmla="*/ 11 w 26"/>
                <a:gd name="T5" fmla="*/ 18 h 18"/>
                <a:gd name="T6" fmla="*/ 0 w 26"/>
                <a:gd name="T7" fmla="*/ 18 h 18"/>
                <a:gd name="T8" fmla="*/ 0 w 26"/>
                <a:gd name="T9" fmla="*/ 13 h 18"/>
                <a:gd name="T10" fmla="*/ 11 w 26"/>
                <a:gd name="T11" fmla="*/ 13 h 18"/>
                <a:gd name="T12" fmla="*/ 26 w 26"/>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6" h="18">
                  <a:moveTo>
                    <a:pt x="26" y="0"/>
                  </a:moveTo>
                  <a:cubicBezTo>
                    <a:pt x="26" y="1"/>
                    <a:pt x="26" y="2"/>
                    <a:pt x="26" y="3"/>
                  </a:cubicBezTo>
                  <a:cubicBezTo>
                    <a:pt x="26" y="11"/>
                    <a:pt x="19" y="18"/>
                    <a:pt x="11" y="18"/>
                  </a:cubicBezTo>
                  <a:cubicBezTo>
                    <a:pt x="0" y="18"/>
                    <a:pt x="0" y="18"/>
                    <a:pt x="0" y="18"/>
                  </a:cubicBezTo>
                  <a:cubicBezTo>
                    <a:pt x="0" y="13"/>
                    <a:pt x="0" y="13"/>
                    <a:pt x="0" y="13"/>
                  </a:cubicBezTo>
                  <a:cubicBezTo>
                    <a:pt x="11" y="13"/>
                    <a:pt x="11" y="13"/>
                    <a:pt x="11" y="13"/>
                  </a:cubicBezTo>
                  <a:cubicBezTo>
                    <a:pt x="19" y="13"/>
                    <a:pt x="25" y="7"/>
                    <a:pt x="26" y="0"/>
                  </a:cubicBez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7348091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7008222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79946700"/>
      </p:ext>
    </p:extLst>
  </p:cSld>
  <p:clrMapOvr>
    <a:masterClrMapping/>
  </p:clrMapOvr>
  <p:transition>
    <p:fade/>
  </p:transition>
  <p:extLst mod="1">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8205486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98114796"/>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807475"/>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920702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55356227"/>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4014154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5667441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701997287"/>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139323626"/>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12559"/>
            <a:ext cx="5378548" cy="832882"/>
          </a:xfrm>
        </p:spPr>
        <p:txBody>
          <a:bodyPr anchor="ctr">
            <a:spAutoFit/>
          </a:bodyPr>
          <a:lstStyle>
            <a:lvl1pPr>
              <a:defRPr sz="4705"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781644232"/>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89335521"/>
      </p:ext>
    </p:extLst>
  </p:cSld>
  <p:clrMapOvr>
    <a:masterClrMapping/>
  </p:clrMapOvr>
  <p:transition>
    <p:fade/>
  </p:transition>
  <p:extLst mod="1">
    <p:ext uri="{DCECCB84-F9BA-43D5-87BE-67443E8EF086}">
      <p15:sldGuideLst xmlns:p15="http://schemas.microsoft.com/office/powerpoint/2012/main">
        <p15:guide id="3" orient="horz" pos="900" userDrawn="1">
          <p15:clr>
            <a:srgbClr val="5ACBF0"/>
          </p15:clr>
        </p15:guide>
        <p15:guide id="4" orient="horz" pos="1276" userDrawn="1">
          <p15:clr>
            <a:srgbClr val="5ACBF0"/>
          </p15:clr>
        </p15:guide>
        <p15:guide id="5" orient="horz" pos="288" userDrawn="1">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1222466438"/>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2236548"/>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3581229"/>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2990114"/>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4246689387"/>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702072001"/>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Group of people in an office working." title="Microsoft Brand Photo">
            <a:extLst>
              <a:ext uri="{FF2B5EF4-FFF2-40B4-BE49-F238E27FC236}">
                <a16:creationId xmlns:a16="http://schemas.microsoft.com/office/drawing/2014/main" id="{31FDC4B1-0785-4203-90B0-3586BA98650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4319779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Group of people in an office working." title="Microsoft Brand Photo">
            <a:extLst>
              <a:ext uri="{FF2B5EF4-FFF2-40B4-BE49-F238E27FC236}">
                <a16:creationId xmlns:a16="http://schemas.microsoft.com/office/drawing/2014/main" id="{D112DACC-3558-4EAF-B807-7C520DCF912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9055429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3459835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42625617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endParaRPr lang="en-US" dirty="0"/>
          </a:p>
        </p:txBody>
      </p:sp>
    </p:spTree>
    <p:extLst>
      <p:ext uri="{BB962C8B-B14F-4D97-AF65-F5344CB8AC3E}">
        <p14:creationId xmlns:p14="http://schemas.microsoft.com/office/powerpoint/2010/main" val="1320557365"/>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30045204"/>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88454265"/>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51043785"/>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15379569"/>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20877199"/>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41369262"/>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636382653"/>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041946439"/>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874619658"/>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930163268"/>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54.xml"/><Relationship Id="rId13" Type="http://schemas.openxmlformats.org/officeDocument/2006/relationships/slideLayout" Target="../slideLayouts/slideLayout159.xml"/><Relationship Id="rId18" Type="http://schemas.openxmlformats.org/officeDocument/2006/relationships/oleObject" Target="../embeddings/oleObject1.bin"/><Relationship Id="rId3" Type="http://schemas.openxmlformats.org/officeDocument/2006/relationships/slideLayout" Target="../slideLayouts/slideLayout149.xml"/><Relationship Id="rId7" Type="http://schemas.openxmlformats.org/officeDocument/2006/relationships/slideLayout" Target="../slideLayouts/slideLayout153.xml"/><Relationship Id="rId12" Type="http://schemas.openxmlformats.org/officeDocument/2006/relationships/slideLayout" Target="../slideLayouts/slideLayout158.xml"/><Relationship Id="rId17" Type="http://schemas.openxmlformats.org/officeDocument/2006/relationships/tags" Target="../tags/tag1.xml"/><Relationship Id="rId2" Type="http://schemas.openxmlformats.org/officeDocument/2006/relationships/slideLayout" Target="../slideLayouts/slideLayout148.xml"/><Relationship Id="rId16" Type="http://schemas.openxmlformats.org/officeDocument/2006/relationships/vmlDrawing" Target="../drawings/vmlDrawing1.vml"/><Relationship Id="rId1" Type="http://schemas.openxmlformats.org/officeDocument/2006/relationships/slideLayout" Target="../slideLayouts/slideLayout147.xml"/><Relationship Id="rId6" Type="http://schemas.openxmlformats.org/officeDocument/2006/relationships/slideLayout" Target="../slideLayouts/slideLayout152.xml"/><Relationship Id="rId11" Type="http://schemas.openxmlformats.org/officeDocument/2006/relationships/slideLayout" Target="../slideLayouts/slideLayout157.xml"/><Relationship Id="rId5" Type="http://schemas.openxmlformats.org/officeDocument/2006/relationships/slideLayout" Target="../slideLayouts/slideLayout151.xml"/><Relationship Id="rId15" Type="http://schemas.openxmlformats.org/officeDocument/2006/relationships/theme" Target="../theme/theme10.xml"/><Relationship Id="rId10" Type="http://schemas.openxmlformats.org/officeDocument/2006/relationships/slideLayout" Target="../slideLayouts/slideLayout156.xml"/><Relationship Id="rId19" Type="http://schemas.openxmlformats.org/officeDocument/2006/relationships/image" Target="../media/image38.emf"/><Relationship Id="rId4" Type="http://schemas.openxmlformats.org/officeDocument/2006/relationships/slideLayout" Target="../slideLayouts/slideLayout150.xml"/><Relationship Id="rId9" Type="http://schemas.openxmlformats.org/officeDocument/2006/relationships/slideLayout" Target="../slideLayouts/slideLayout155.xml"/><Relationship Id="rId14" Type="http://schemas.openxmlformats.org/officeDocument/2006/relationships/slideLayout" Target="../slideLayouts/slideLayout160.xml"/></Relationships>
</file>

<file path=ppt/slideMasters/_rels/slideMaster1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68.xml"/><Relationship Id="rId13" Type="http://schemas.openxmlformats.org/officeDocument/2006/relationships/slideLayout" Target="../slideLayouts/slideLayout173.xml"/><Relationship Id="rId18" Type="http://schemas.openxmlformats.org/officeDocument/2006/relationships/slideLayout" Target="../slideLayouts/slideLayout178.xml"/><Relationship Id="rId26" Type="http://schemas.openxmlformats.org/officeDocument/2006/relationships/slideLayout" Target="../slideLayouts/slideLayout186.xml"/><Relationship Id="rId3" Type="http://schemas.openxmlformats.org/officeDocument/2006/relationships/slideLayout" Target="../slideLayouts/slideLayout163.xml"/><Relationship Id="rId21" Type="http://schemas.openxmlformats.org/officeDocument/2006/relationships/slideLayout" Target="../slideLayouts/slideLayout181.xml"/><Relationship Id="rId7" Type="http://schemas.openxmlformats.org/officeDocument/2006/relationships/slideLayout" Target="../slideLayouts/slideLayout167.xml"/><Relationship Id="rId12" Type="http://schemas.openxmlformats.org/officeDocument/2006/relationships/slideLayout" Target="../slideLayouts/slideLayout172.xml"/><Relationship Id="rId17" Type="http://schemas.openxmlformats.org/officeDocument/2006/relationships/slideLayout" Target="../slideLayouts/slideLayout177.xml"/><Relationship Id="rId25" Type="http://schemas.openxmlformats.org/officeDocument/2006/relationships/slideLayout" Target="../slideLayouts/slideLayout185.xml"/><Relationship Id="rId2" Type="http://schemas.openxmlformats.org/officeDocument/2006/relationships/slideLayout" Target="../slideLayouts/slideLayout162.xml"/><Relationship Id="rId16" Type="http://schemas.openxmlformats.org/officeDocument/2006/relationships/slideLayout" Target="../slideLayouts/slideLayout176.xml"/><Relationship Id="rId20" Type="http://schemas.openxmlformats.org/officeDocument/2006/relationships/slideLayout" Target="../slideLayouts/slideLayout180.xml"/><Relationship Id="rId29" Type="http://schemas.openxmlformats.org/officeDocument/2006/relationships/theme" Target="../theme/theme12.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11" Type="http://schemas.openxmlformats.org/officeDocument/2006/relationships/slideLayout" Target="../slideLayouts/slideLayout171.xml"/><Relationship Id="rId24" Type="http://schemas.openxmlformats.org/officeDocument/2006/relationships/slideLayout" Target="../slideLayouts/slideLayout184.xml"/><Relationship Id="rId5" Type="http://schemas.openxmlformats.org/officeDocument/2006/relationships/slideLayout" Target="../slideLayouts/slideLayout165.xml"/><Relationship Id="rId15" Type="http://schemas.openxmlformats.org/officeDocument/2006/relationships/slideLayout" Target="../slideLayouts/slideLayout175.xml"/><Relationship Id="rId23" Type="http://schemas.openxmlformats.org/officeDocument/2006/relationships/slideLayout" Target="../slideLayouts/slideLayout183.xml"/><Relationship Id="rId28" Type="http://schemas.openxmlformats.org/officeDocument/2006/relationships/slideLayout" Target="../slideLayouts/slideLayout188.xml"/><Relationship Id="rId10" Type="http://schemas.openxmlformats.org/officeDocument/2006/relationships/slideLayout" Target="../slideLayouts/slideLayout170.xml"/><Relationship Id="rId19" Type="http://schemas.openxmlformats.org/officeDocument/2006/relationships/slideLayout" Target="../slideLayouts/slideLayout179.xml"/><Relationship Id="rId4" Type="http://schemas.openxmlformats.org/officeDocument/2006/relationships/slideLayout" Target="../slideLayouts/slideLayout164.xml"/><Relationship Id="rId9" Type="http://schemas.openxmlformats.org/officeDocument/2006/relationships/slideLayout" Target="../slideLayouts/slideLayout169.xml"/><Relationship Id="rId14" Type="http://schemas.openxmlformats.org/officeDocument/2006/relationships/slideLayout" Target="../slideLayouts/slideLayout174.xml"/><Relationship Id="rId22" Type="http://schemas.openxmlformats.org/officeDocument/2006/relationships/slideLayout" Target="../slideLayouts/slideLayout182.xml"/><Relationship Id="rId27" Type="http://schemas.openxmlformats.org/officeDocument/2006/relationships/slideLayout" Target="../slideLayouts/slideLayout187.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96.xml"/><Relationship Id="rId13" Type="http://schemas.openxmlformats.org/officeDocument/2006/relationships/slideLayout" Target="../slideLayouts/slideLayout201.xml"/><Relationship Id="rId18" Type="http://schemas.openxmlformats.org/officeDocument/2006/relationships/slideLayout" Target="../slideLayouts/slideLayout206.xml"/><Relationship Id="rId26" Type="http://schemas.openxmlformats.org/officeDocument/2006/relationships/slideLayout" Target="../slideLayouts/slideLayout214.xml"/><Relationship Id="rId3" Type="http://schemas.openxmlformats.org/officeDocument/2006/relationships/slideLayout" Target="../slideLayouts/slideLayout191.xml"/><Relationship Id="rId21" Type="http://schemas.openxmlformats.org/officeDocument/2006/relationships/slideLayout" Target="../slideLayouts/slideLayout209.xml"/><Relationship Id="rId7" Type="http://schemas.openxmlformats.org/officeDocument/2006/relationships/slideLayout" Target="../slideLayouts/slideLayout195.xml"/><Relationship Id="rId12" Type="http://schemas.openxmlformats.org/officeDocument/2006/relationships/slideLayout" Target="../slideLayouts/slideLayout200.xml"/><Relationship Id="rId17" Type="http://schemas.openxmlformats.org/officeDocument/2006/relationships/slideLayout" Target="../slideLayouts/slideLayout205.xml"/><Relationship Id="rId25" Type="http://schemas.openxmlformats.org/officeDocument/2006/relationships/slideLayout" Target="../slideLayouts/slideLayout213.xml"/><Relationship Id="rId2" Type="http://schemas.openxmlformats.org/officeDocument/2006/relationships/slideLayout" Target="../slideLayouts/slideLayout190.xml"/><Relationship Id="rId16" Type="http://schemas.openxmlformats.org/officeDocument/2006/relationships/slideLayout" Target="../slideLayouts/slideLayout204.xml"/><Relationship Id="rId20" Type="http://schemas.openxmlformats.org/officeDocument/2006/relationships/slideLayout" Target="../slideLayouts/slideLayout208.xml"/><Relationship Id="rId29" Type="http://schemas.openxmlformats.org/officeDocument/2006/relationships/slideLayout" Target="../slideLayouts/slideLayout217.xml"/><Relationship Id="rId1" Type="http://schemas.openxmlformats.org/officeDocument/2006/relationships/slideLayout" Target="../slideLayouts/slideLayout189.xml"/><Relationship Id="rId6" Type="http://schemas.openxmlformats.org/officeDocument/2006/relationships/slideLayout" Target="../slideLayouts/slideLayout194.xml"/><Relationship Id="rId11" Type="http://schemas.openxmlformats.org/officeDocument/2006/relationships/slideLayout" Target="../slideLayouts/slideLayout199.xml"/><Relationship Id="rId24" Type="http://schemas.openxmlformats.org/officeDocument/2006/relationships/slideLayout" Target="../slideLayouts/slideLayout212.xml"/><Relationship Id="rId5" Type="http://schemas.openxmlformats.org/officeDocument/2006/relationships/slideLayout" Target="../slideLayouts/slideLayout193.xml"/><Relationship Id="rId15" Type="http://schemas.openxmlformats.org/officeDocument/2006/relationships/slideLayout" Target="../slideLayouts/slideLayout203.xml"/><Relationship Id="rId23" Type="http://schemas.openxmlformats.org/officeDocument/2006/relationships/slideLayout" Target="../slideLayouts/slideLayout211.xml"/><Relationship Id="rId28" Type="http://schemas.openxmlformats.org/officeDocument/2006/relationships/slideLayout" Target="../slideLayouts/slideLayout216.xml"/><Relationship Id="rId10" Type="http://schemas.openxmlformats.org/officeDocument/2006/relationships/slideLayout" Target="../slideLayouts/slideLayout198.xml"/><Relationship Id="rId19" Type="http://schemas.openxmlformats.org/officeDocument/2006/relationships/slideLayout" Target="../slideLayouts/slideLayout207.xml"/><Relationship Id="rId4" Type="http://schemas.openxmlformats.org/officeDocument/2006/relationships/slideLayout" Target="../slideLayouts/slideLayout192.xml"/><Relationship Id="rId9" Type="http://schemas.openxmlformats.org/officeDocument/2006/relationships/slideLayout" Target="../slideLayouts/slideLayout197.xml"/><Relationship Id="rId14" Type="http://schemas.openxmlformats.org/officeDocument/2006/relationships/slideLayout" Target="../slideLayouts/slideLayout202.xml"/><Relationship Id="rId22" Type="http://schemas.openxmlformats.org/officeDocument/2006/relationships/slideLayout" Target="../slideLayouts/slideLayout210.xml"/><Relationship Id="rId27" Type="http://schemas.openxmlformats.org/officeDocument/2006/relationships/slideLayout" Target="../slideLayouts/slideLayout215.xml"/><Relationship Id="rId30"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25.xml"/><Relationship Id="rId13" Type="http://schemas.openxmlformats.org/officeDocument/2006/relationships/slideLayout" Target="../slideLayouts/slideLayout230.xml"/><Relationship Id="rId18" Type="http://schemas.openxmlformats.org/officeDocument/2006/relationships/slideLayout" Target="../slideLayouts/slideLayout235.xml"/><Relationship Id="rId26" Type="http://schemas.openxmlformats.org/officeDocument/2006/relationships/slideLayout" Target="../slideLayouts/slideLayout243.xml"/><Relationship Id="rId3" Type="http://schemas.openxmlformats.org/officeDocument/2006/relationships/slideLayout" Target="../slideLayouts/slideLayout220.xml"/><Relationship Id="rId21" Type="http://schemas.openxmlformats.org/officeDocument/2006/relationships/slideLayout" Target="../slideLayouts/slideLayout238.xml"/><Relationship Id="rId7" Type="http://schemas.openxmlformats.org/officeDocument/2006/relationships/slideLayout" Target="../slideLayouts/slideLayout224.xml"/><Relationship Id="rId12" Type="http://schemas.openxmlformats.org/officeDocument/2006/relationships/slideLayout" Target="../slideLayouts/slideLayout229.xml"/><Relationship Id="rId17" Type="http://schemas.openxmlformats.org/officeDocument/2006/relationships/slideLayout" Target="../slideLayouts/slideLayout234.xml"/><Relationship Id="rId25" Type="http://schemas.openxmlformats.org/officeDocument/2006/relationships/slideLayout" Target="../slideLayouts/slideLayout242.xml"/><Relationship Id="rId2" Type="http://schemas.openxmlformats.org/officeDocument/2006/relationships/slideLayout" Target="../slideLayouts/slideLayout219.xml"/><Relationship Id="rId16" Type="http://schemas.openxmlformats.org/officeDocument/2006/relationships/slideLayout" Target="../slideLayouts/slideLayout233.xml"/><Relationship Id="rId20" Type="http://schemas.openxmlformats.org/officeDocument/2006/relationships/slideLayout" Target="../slideLayouts/slideLayout237.xml"/><Relationship Id="rId29" Type="http://schemas.openxmlformats.org/officeDocument/2006/relationships/theme" Target="../theme/theme14.xml"/><Relationship Id="rId1" Type="http://schemas.openxmlformats.org/officeDocument/2006/relationships/slideLayout" Target="../slideLayouts/slideLayout218.xml"/><Relationship Id="rId6" Type="http://schemas.openxmlformats.org/officeDocument/2006/relationships/slideLayout" Target="../slideLayouts/slideLayout223.xml"/><Relationship Id="rId11" Type="http://schemas.openxmlformats.org/officeDocument/2006/relationships/slideLayout" Target="../slideLayouts/slideLayout228.xml"/><Relationship Id="rId24" Type="http://schemas.openxmlformats.org/officeDocument/2006/relationships/slideLayout" Target="../slideLayouts/slideLayout241.xml"/><Relationship Id="rId5" Type="http://schemas.openxmlformats.org/officeDocument/2006/relationships/slideLayout" Target="../slideLayouts/slideLayout222.xml"/><Relationship Id="rId15" Type="http://schemas.openxmlformats.org/officeDocument/2006/relationships/slideLayout" Target="../slideLayouts/slideLayout232.xml"/><Relationship Id="rId23" Type="http://schemas.openxmlformats.org/officeDocument/2006/relationships/slideLayout" Target="../slideLayouts/slideLayout240.xml"/><Relationship Id="rId28" Type="http://schemas.openxmlformats.org/officeDocument/2006/relationships/slideLayout" Target="../slideLayouts/slideLayout245.xml"/><Relationship Id="rId10" Type="http://schemas.openxmlformats.org/officeDocument/2006/relationships/slideLayout" Target="../slideLayouts/slideLayout227.xml"/><Relationship Id="rId19" Type="http://schemas.openxmlformats.org/officeDocument/2006/relationships/slideLayout" Target="../slideLayouts/slideLayout236.xml"/><Relationship Id="rId4" Type="http://schemas.openxmlformats.org/officeDocument/2006/relationships/slideLayout" Target="../slideLayouts/slideLayout221.xml"/><Relationship Id="rId9" Type="http://schemas.openxmlformats.org/officeDocument/2006/relationships/slideLayout" Target="../slideLayouts/slideLayout226.xml"/><Relationship Id="rId14" Type="http://schemas.openxmlformats.org/officeDocument/2006/relationships/slideLayout" Target="../slideLayouts/slideLayout231.xml"/><Relationship Id="rId22" Type="http://schemas.openxmlformats.org/officeDocument/2006/relationships/slideLayout" Target="../slideLayouts/slideLayout239.xml"/><Relationship Id="rId27" Type="http://schemas.openxmlformats.org/officeDocument/2006/relationships/slideLayout" Target="../slideLayouts/slideLayout244.xml"/><Relationship Id="rId30" Type="http://schemas.openxmlformats.org/officeDocument/2006/relationships/image" Target="../media/image1.emf"/></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53.xml"/><Relationship Id="rId13" Type="http://schemas.openxmlformats.org/officeDocument/2006/relationships/slideLayout" Target="../slideLayouts/slideLayout258.xml"/><Relationship Id="rId3" Type="http://schemas.openxmlformats.org/officeDocument/2006/relationships/slideLayout" Target="../slideLayouts/slideLayout248.xml"/><Relationship Id="rId7" Type="http://schemas.openxmlformats.org/officeDocument/2006/relationships/slideLayout" Target="../slideLayouts/slideLayout252.xml"/><Relationship Id="rId12" Type="http://schemas.openxmlformats.org/officeDocument/2006/relationships/slideLayout" Target="../slideLayouts/slideLayout257.xml"/><Relationship Id="rId2" Type="http://schemas.openxmlformats.org/officeDocument/2006/relationships/slideLayout" Target="../slideLayouts/slideLayout247.xml"/><Relationship Id="rId1" Type="http://schemas.openxmlformats.org/officeDocument/2006/relationships/slideLayout" Target="../slideLayouts/slideLayout246.xml"/><Relationship Id="rId6" Type="http://schemas.openxmlformats.org/officeDocument/2006/relationships/slideLayout" Target="../slideLayouts/slideLayout251.xml"/><Relationship Id="rId11" Type="http://schemas.openxmlformats.org/officeDocument/2006/relationships/slideLayout" Target="../slideLayouts/slideLayout256.xml"/><Relationship Id="rId5" Type="http://schemas.openxmlformats.org/officeDocument/2006/relationships/slideLayout" Target="../slideLayouts/slideLayout250.xml"/><Relationship Id="rId10" Type="http://schemas.openxmlformats.org/officeDocument/2006/relationships/slideLayout" Target="../slideLayouts/slideLayout255.xml"/><Relationship Id="rId4" Type="http://schemas.openxmlformats.org/officeDocument/2006/relationships/slideLayout" Target="../slideLayouts/slideLayout249.xml"/><Relationship Id="rId9" Type="http://schemas.openxmlformats.org/officeDocument/2006/relationships/slideLayout" Target="../slideLayouts/slideLayout254.xml"/><Relationship Id="rId14" Type="http://schemas.openxmlformats.org/officeDocument/2006/relationships/theme" Target="../theme/theme1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theme" Target="../theme/theme2.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image" Target="../media/image20.emf"/><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10" Type="http://schemas.openxmlformats.org/officeDocument/2006/relationships/slideLayout" Target="../slideLayouts/slideLayout58.xml"/><Relationship Id="rId19" Type="http://schemas.openxmlformats.org/officeDocument/2006/relationships/theme" Target="../theme/theme3.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s>
</file>

<file path=ppt/slideMasters/_rels/slideMaster4.xml.rels><?xml version="1.0" encoding="UTF-8" standalone="yes"?>
<Relationships xmlns="http://schemas.openxmlformats.org/package/2006/relationships"><Relationship Id="rId2" Type="http://schemas.openxmlformats.org/officeDocument/2006/relationships/theme" Target="../theme/theme4.xml"/><Relationship Id="rId1" Type="http://schemas.openxmlformats.org/officeDocument/2006/relationships/slideLayout" Target="../slideLayouts/slideLayout6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18" Type="http://schemas.openxmlformats.org/officeDocument/2006/relationships/slideLayout" Target="../slideLayouts/slideLayout85.xml"/><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 Type="http://schemas.openxmlformats.org/officeDocument/2006/relationships/slideLayout" Target="../slideLayouts/slideLayout69.xml"/><Relationship Id="rId16" Type="http://schemas.openxmlformats.org/officeDocument/2006/relationships/slideLayout" Target="../slideLayouts/slideLayout83.xml"/><Relationship Id="rId20" Type="http://schemas.openxmlformats.org/officeDocument/2006/relationships/image" Target="../media/image20.emf"/><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slideLayout" Target="../slideLayouts/slideLayout82.xml"/><Relationship Id="rId10" Type="http://schemas.openxmlformats.org/officeDocument/2006/relationships/slideLayout" Target="../slideLayouts/slideLayout77.xml"/><Relationship Id="rId19" Type="http://schemas.openxmlformats.org/officeDocument/2006/relationships/theme" Target="../theme/theme5.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3.xml"/><Relationship Id="rId13" Type="http://schemas.openxmlformats.org/officeDocument/2006/relationships/slideLayout" Target="../slideLayouts/slideLayout98.xml"/><Relationship Id="rId18" Type="http://schemas.openxmlformats.org/officeDocument/2006/relationships/slideLayout" Target="../slideLayouts/slideLayout103.xml"/><Relationship Id="rId26" Type="http://schemas.openxmlformats.org/officeDocument/2006/relationships/slideLayout" Target="../slideLayouts/slideLayout111.xml"/><Relationship Id="rId3" Type="http://schemas.openxmlformats.org/officeDocument/2006/relationships/slideLayout" Target="../slideLayouts/slideLayout88.xml"/><Relationship Id="rId21" Type="http://schemas.openxmlformats.org/officeDocument/2006/relationships/slideLayout" Target="../slideLayouts/slideLayout106.xml"/><Relationship Id="rId7" Type="http://schemas.openxmlformats.org/officeDocument/2006/relationships/slideLayout" Target="../slideLayouts/slideLayout92.xml"/><Relationship Id="rId12" Type="http://schemas.openxmlformats.org/officeDocument/2006/relationships/slideLayout" Target="../slideLayouts/slideLayout97.xml"/><Relationship Id="rId17" Type="http://schemas.openxmlformats.org/officeDocument/2006/relationships/slideLayout" Target="../slideLayouts/slideLayout102.xml"/><Relationship Id="rId25" Type="http://schemas.openxmlformats.org/officeDocument/2006/relationships/slideLayout" Target="../slideLayouts/slideLayout110.xml"/><Relationship Id="rId2" Type="http://schemas.openxmlformats.org/officeDocument/2006/relationships/slideLayout" Target="../slideLayouts/slideLayout87.xml"/><Relationship Id="rId16" Type="http://schemas.openxmlformats.org/officeDocument/2006/relationships/slideLayout" Target="../slideLayouts/slideLayout101.xml"/><Relationship Id="rId20" Type="http://schemas.openxmlformats.org/officeDocument/2006/relationships/slideLayout" Target="../slideLayouts/slideLayout105.xml"/><Relationship Id="rId29" Type="http://schemas.openxmlformats.org/officeDocument/2006/relationships/theme" Target="../theme/theme6.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24" Type="http://schemas.openxmlformats.org/officeDocument/2006/relationships/slideLayout" Target="../slideLayouts/slideLayout109.xml"/><Relationship Id="rId5" Type="http://schemas.openxmlformats.org/officeDocument/2006/relationships/slideLayout" Target="../slideLayouts/slideLayout90.xml"/><Relationship Id="rId15" Type="http://schemas.openxmlformats.org/officeDocument/2006/relationships/slideLayout" Target="../slideLayouts/slideLayout100.xml"/><Relationship Id="rId23" Type="http://schemas.openxmlformats.org/officeDocument/2006/relationships/slideLayout" Target="../slideLayouts/slideLayout108.xml"/><Relationship Id="rId28" Type="http://schemas.openxmlformats.org/officeDocument/2006/relationships/slideLayout" Target="../slideLayouts/slideLayout113.xml"/><Relationship Id="rId10" Type="http://schemas.openxmlformats.org/officeDocument/2006/relationships/slideLayout" Target="../slideLayouts/slideLayout95.xml"/><Relationship Id="rId19" Type="http://schemas.openxmlformats.org/officeDocument/2006/relationships/slideLayout" Target="../slideLayouts/slideLayout104.xml"/><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slideLayout" Target="../slideLayouts/slideLayout99.xml"/><Relationship Id="rId22" Type="http://schemas.openxmlformats.org/officeDocument/2006/relationships/slideLayout" Target="../slideLayouts/slideLayout107.xml"/><Relationship Id="rId27" Type="http://schemas.openxmlformats.org/officeDocument/2006/relationships/slideLayout" Target="../slideLayouts/slideLayout112.xml"/><Relationship Id="rId30" Type="http://schemas.openxmlformats.org/officeDocument/2006/relationships/image" Target="../media/image1.emf"/></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116.xml"/><Relationship Id="rId7" Type="http://schemas.openxmlformats.org/officeDocument/2006/relationships/slideLayout" Target="../slideLayouts/slideLayout120.xml"/><Relationship Id="rId2" Type="http://schemas.openxmlformats.org/officeDocument/2006/relationships/slideLayout" Target="../slideLayouts/slideLayout115.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5" Type="http://schemas.openxmlformats.org/officeDocument/2006/relationships/slideLayout" Target="../slideLayouts/slideLayout118.xml"/><Relationship Id="rId4" Type="http://schemas.openxmlformats.org/officeDocument/2006/relationships/slideLayout" Target="../slideLayouts/slideLayout117.xml"/><Relationship Id="rId9" Type="http://schemas.openxmlformats.org/officeDocument/2006/relationships/image" Target="../media/image1.emf"/></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123.xml"/><Relationship Id="rId2" Type="http://schemas.openxmlformats.org/officeDocument/2006/relationships/slideLayout" Target="../slideLayouts/slideLayout122.xml"/><Relationship Id="rId1" Type="http://schemas.openxmlformats.org/officeDocument/2006/relationships/slideLayout" Target="../slideLayouts/slideLayout121.xml"/><Relationship Id="rId6" Type="http://schemas.openxmlformats.org/officeDocument/2006/relationships/image" Target="../media/image27.png"/><Relationship Id="rId5" Type="http://schemas.openxmlformats.org/officeDocument/2006/relationships/theme" Target="../theme/theme8.xml"/><Relationship Id="rId4" Type="http://schemas.openxmlformats.org/officeDocument/2006/relationships/slideLayout" Target="../slideLayouts/slideLayout124.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slideLayout" Target="../slideLayouts/slideLayout137.xml"/><Relationship Id="rId18" Type="http://schemas.openxmlformats.org/officeDocument/2006/relationships/slideLayout" Target="../slideLayouts/slideLayout142.xml"/><Relationship Id="rId3" Type="http://schemas.openxmlformats.org/officeDocument/2006/relationships/slideLayout" Target="../slideLayouts/slideLayout127.xml"/><Relationship Id="rId21" Type="http://schemas.openxmlformats.org/officeDocument/2006/relationships/slideLayout" Target="../slideLayouts/slideLayout145.xml"/><Relationship Id="rId7" Type="http://schemas.openxmlformats.org/officeDocument/2006/relationships/slideLayout" Target="../slideLayouts/slideLayout131.xml"/><Relationship Id="rId12" Type="http://schemas.openxmlformats.org/officeDocument/2006/relationships/slideLayout" Target="../slideLayouts/slideLayout136.xml"/><Relationship Id="rId17" Type="http://schemas.openxmlformats.org/officeDocument/2006/relationships/slideLayout" Target="../slideLayouts/slideLayout141.xml"/><Relationship Id="rId2" Type="http://schemas.openxmlformats.org/officeDocument/2006/relationships/slideLayout" Target="../slideLayouts/slideLayout126.xml"/><Relationship Id="rId16" Type="http://schemas.openxmlformats.org/officeDocument/2006/relationships/slideLayout" Target="../slideLayouts/slideLayout140.xml"/><Relationship Id="rId20" Type="http://schemas.openxmlformats.org/officeDocument/2006/relationships/slideLayout" Target="../slideLayouts/slideLayout144.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5" Type="http://schemas.openxmlformats.org/officeDocument/2006/relationships/slideLayout" Target="../slideLayouts/slideLayout129.xml"/><Relationship Id="rId15" Type="http://schemas.openxmlformats.org/officeDocument/2006/relationships/slideLayout" Target="../slideLayouts/slideLayout139.xml"/><Relationship Id="rId23" Type="http://schemas.openxmlformats.org/officeDocument/2006/relationships/theme" Target="../theme/theme9.xml"/><Relationship Id="rId10" Type="http://schemas.openxmlformats.org/officeDocument/2006/relationships/slideLayout" Target="../slideLayouts/slideLayout134.xml"/><Relationship Id="rId19" Type="http://schemas.openxmlformats.org/officeDocument/2006/relationships/slideLayout" Target="../slideLayouts/slideLayout143.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 Id="rId22" Type="http://schemas.openxmlformats.org/officeDocument/2006/relationships/slideLayout" Target="../slideLayouts/slideLayout14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6"/>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648" r:id="rId1"/>
    <p:sldLayoutId id="2147484649" r:id="rId2"/>
    <p:sldLayoutId id="2147484610" r:id="rId3"/>
    <p:sldLayoutId id="2147484240" r:id="rId4"/>
    <p:sldLayoutId id="2147484241" r:id="rId5"/>
    <p:sldLayoutId id="2147484474" r:id="rId6"/>
    <p:sldLayoutId id="2147484245" r:id="rId7"/>
    <p:sldLayoutId id="2147484247" r:id="rId8"/>
    <p:sldLayoutId id="2147484652" r:id="rId9"/>
    <p:sldLayoutId id="2147484639" r:id="rId10"/>
    <p:sldLayoutId id="2147484603" r:id="rId11"/>
    <p:sldLayoutId id="2147484645" r:id="rId12"/>
    <p:sldLayoutId id="2147484646" r:id="rId13"/>
    <p:sldLayoutId id="2147484647" r:id="rId14"/>
    <p:sldLayoutId id="2147484249" r:id="rId15"/>
    <p:sldLayoutId id="2147484582" r:id="rId16"/>
    <p:sldLayoutId id="2147484584" r:id="rId17"/>
    <p:sldLayoutId id="2147484583" r:id="rId18"/>
    <p:sldLayoutId id="2147484256" r:id="rId19"/>
    <p:sldLayoutId id="2147484257" r:id="rId20"/>
    <p:sldLayoutId id="2147484651" r:id="rId21"/>
    <p:sldLayoutId id="2147484585" r:id="rId22"/>
    <p:sldLayoutId id="2147484299" r:id="rId23"/>
    <p:sldLayoutId id="2147484263" r:id="rId2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userDrawn="1">
          <p15:clr>
            <a:srgbClr val="C35EA4"/>
          </p15:clr>
        </p15:guide>
        <p15:guide id="17" pos="7313"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5" userDrawn="1">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7"/>
            </p:custDataLs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18" imgW="383" imgH="384" progId="TCLayout.ActiveDocument.1">
                  <p:embed/>
                </p:oleObj>
              </mc:Choice>
              <mc:Fallback>
                <p:oleObj name="think-cell Slide" r:id="rId18" imgW="383" imgH="384" progId="TCLayout.ActiveDocument.1">
                  <p:embed/>
                  <p:pic>
                    <p:nvPicPr>
                      <p:cNvPr id="3" name="Object 2" hidden="1"/>
                      <p:cNvPicPr/>
                      <p:nvPr/>
                    </p:nvPicPr>
                    <p:blipFill>
                      <a:blip r:embed="rId19"/>
                      <a:stretch>
                        <a:fillRect/>
                      </a:stretch>
                    </p:blipFill>
                    <p:spPr>
                      <a:xfrm>
                        <a:off x="1590" y="1590"/>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1" y="2"/>
            <a:ext cx="12192000" cy="646042"/>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1905000" y="6477874"/>
            <a:ext cx="8382000" cy="380127"/>
          </a:xfrm>
          <a:prstGeom prst="rect">
            <a:avLst/>
          </a:prstGeom>
        </p:spPr>
        <p:txBody>
          <a:bodyPr vert="horz" lIns="76179" tIns="38089" rIns="76179" bIns="38089" rtlCol="0" anchor="ctr"/>
          <a:lstStyle>
            <a:lvl1pPr algn="ctr">
              <a:defRPr sz="800">
                <a:solidFill>
                  <a:schemeClr val="tx1"/>
                </a:solidFill>
                <a:latin typeface="Segoe UI" pitchFamily="34" charset="0"/>
                <a:ea typeface="Segoe UI" pitchFamily="34" charset="0"/>
                <a:cs typeface="Segoe UI" pitchFamily="34" charset="0"/>
              </a:defRPr>
            </a:lvl1pPr>
          </a:lstStyle>
          <a:p>
            <a:pPr defTabSz="1087896"/>
            <a:endParaRPr lang="en-US" dirty="0">
              <a:solidFill>
                <a:srgbClr val="505050"/>
              </a:solidFill>
            </a:endParaRPr>
          </a:p>
        </p:txBody>
      </p:sp>
      <p:sp>
        <p:nvSpPr>
          <p:cNvPr id="15" name="Text Placeholder 14"/>
          <p:cNvSpPr>
            <a:spLocks noGrp="1"/>
          </p:cNvSpPr>
          <p:nvPr>
            <p:ph type="body" idx="1"/>
          </p:nvPr>
        </p:nvSpPr>
        <p:spPr>
          <a:xfrm>
            <a:off x="150853" y="1600202"/>
            <a:ext cx="11890296" cy="4559531"/>
          </a:xfrm>
          <a:prstGeom prst="rect">
            <a:avLst/>
          </a:prstGeom>
        </p:spPr>
        <p:txBody>
          <a:bodyPr vert="horz" lIns="182880" tIns="91440" rIns="18288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4"/>
          </p:nvPr>
        </p:nvSpPr>
        <p:spPr>
          <a:xfrm>
            <a:off x="11215052" y="6477875"/>
            <a:ext cx="761998"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896"/>
            <a:fld id="{FAADACFB-7C71-4E89-89D2-7BBA40B7BFA9}" type="slidenum">
              <a:rPr lang="en-US" smtClean="0">
                <a:solidFill>
                  <a:srgbClr val="505050"/>
                </a:solidFill>
              </a:rPr>
              <a:pPr defTabSz="1087896"/>
              <a:t>‹#›</a:t>
            </a:fld>
            <a:endParaRPr lang="en-US" dirty="0">
              <a:solidFill>
                <a:srgbClr val="505050"/>
              </a:solidFill>
            </a:endParaRPr>
          </a:p>
        </p:txBody>
      </p:sp>
    </p:spTree>
    <p:extLst>
      <p:ext uri="{BB962C8B-B14F-4D97-AF65-F5344CB8AC3E}">
        <p14:creationId xmlns:p14="http://schemas.microsoft.com/office/powerpoint/2010/main" val="2690770255"/>
      </p:ext>
    </p:extLst>
  </p:cSld>
  <p:clrMap bg1="lt1" tx1="dk1" bg2="lt2" tx2="dk2" accent1="accent1" accent2="accent2" accent3="accent3" accent4="accent4" accent5="accent5" accent6="accent6" hlink="hlink" folHlink="folHlink"/>
  <p:sldLayoutIdLst>
    <p:sldLayoutId id="2147484791" r:id="rId1"/>
    <p:sldLayoutId id="2147484792" r:id="rId2"/>
    <p:sldLayoutId id="2147484793" r:id="rId3"/>
    <p:sldLayoutId id="2147484794" r:id="rId4"/>
    <p:sldLayoutId id="2147484795" r:id="rId5"/>
    <p:sldLayoutId id="2147484796" r:id="rId6"/>
    <p:sldLayoutId id="2147484797" r:id="rId7"/>
    <p:sldLayoutId id="2147484798" r:id="rId8"/>
    <p:sldLayoutId id="2147484799" r:id="rId9"/>
    <p:sldLayoutId id="2147484800" r:id="rId10"/>
    <p:sldLayoutId id="2147484801" r:id="rId11"/>
    <p:sldLayoutId id="2147484802" r:id="rId12"/>
    <p:sldLayoutId id="2147484803" r:id="rId13"/>
    <p:sldLayoutId id="2147484805" r:id="rId14"/>
  </p:sldLayoutIdLst>
  <p:transition>
    <p:fade/>
  </p:transition>
  <p:hf hdr="0" ftr="0" dt="0"/>
  <p:txStyles>
    <p:titleStyle>
      <a:lvl1pPr marL="0" algn="l" defTabSz="1087896" rtl="0" eaLnBrk="1" latinLnBrk="0" hangingPunct="1">
        <a:lnSpc>
          <a:spcPct val="90000"/>
        </a:lnSpc>
        <a:spcBef>
          <a:spcPct val="0"/>
        </a:spcBef>
        <a:buNone/>
        <a:defRPr lang="en-US" sz="4000" kern="1200" spc="-58" baseline="0" dirty="0">
          <a:solidFill>
            <a:schemeClr val="bg2"/>
          </a:solidFill>
          <a:latin typeface="Segoe UI Light" pitchFamily="34" charset="0"/>
          <a:ea typeface="Segoe UI" pitchFamily="34" charset="0"/>
          <a:cs typeface="Segoe UI" pitchFamily="34" charset="0"/>
        </a:defRPr>
      </a:lvl1pPr>
    </p:titleStyle>
    <p:bodyStyle>
      <a:lvl1pPr marL="0" indent="0" algn="l" defTabSz="1087896"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5979" indent="-194358" algn="l" defTabSz="1087896"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566" indent="-173202" algn="l" defTabSz="1087896"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153" indent="-177170" algn="l" defTabSz="1087896"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142" indent="-179814" algn="l" defTabSz="1087896"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1716"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5663"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79613"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3560"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7896" rtl="0" eaLnBrk="1" latinLnBrk="0" hangingPunct="1">
        <a:defRPr sz="2200" kern="1200">
          <a:solidFill>
            <a:schemeClr val="tx1"/>
          </a:solidFill>
          <a:latin typeface="+mn-lt"/>
          <a:ea typeface="+mn-ea"/>
          <a:cs typeface="+mn-cs"/>
        </a:defRPr>
      </a:lvl1pPr>
      <a:lvl2pPr marL="543949" algn="l" defTabSz="1087896" rtl="0" eaLnBrk="1" latinLnBrk="0" hangingPunct="1">
        <a:defRPr sz="2200" kern="1200">
          <a:solidFill>
            <a:schemeClr val="tx1"/>
          </a:solidFill>
          <a:latin typeface="+mn-lt"/>
          <a:ea typeface="+mn-ea"/>
          <a:cs typeface="+mn-cs"/>
        </a:defRPr>
      </a:lvl2pPr>
      <a:lvl3pPr marL="1087896" algn="l" defTabSz="1087896" rtl="0" eaLnBrk="1" latinLnBrk="0" hangingPunct="1">
        <a:defRPr sz="2200" kern="1200">
          <a:solidFill>
            <a:schemeClr val="tx1"/>
          </a:solidFill>
          <a:latin typeface="+mn-lt"/>
          <a:ea typeface="+mn-ea"/>
          <a:cs typeface="+mn-cs"/>
        </a:defRPr>
      </a:lvl3pPr>
      <a:lvl4pPr marL="1631846" algn="l" defTabSz="1087896" rtl="0" eaLnBrk="1" latinLnBrk="0" hangingPunct="1">
        <a:defRPr sz="2200" kern="1200">
          <a:solidFill>
            <a:schemeClr val="tx1"/>
          </a:solidFill>
          <a:latin typeface="+mn-lt"/>
          <a:ea typeface="+mn-ea"/>
          <a:cs typeface="+mn-cs"/>
        </a:defRPr>
      </a:lvl4pPr>
      <a:lvl5pPr marL="2175793" algn="l" defTabSz="1087896" rtl="0" eaLnBrk="1" latinLnBrk="0" hangingPunct="1">
        <a:defRPr sz="2200" kern="1200">
          <a:solidFill>
            <a:schemeClr val="tx1"/>
          </a:solidFill>
          <a:latin typeface="+mn-lt"/>
          <a:ea typeface="+mn-ea"/>
          <a:cs typeface="+mn-cs"/>
        </a:defRPr>
      </a:lvl5pPr>
      <a:lvl6pPr marL="2719741" algn="l" defTabSz="1087896" rtl="0" eaLnBrk="1" latinLnBrk="0" hangingPunct="1">
        <a:defRPr sz="2200" kern="1200">
          <a:solidFill>
            <a:schemeClr val="tx1"/>
          </a:solidFill>
          <a:latin typeface="+mn-lt"/>
          <a:ea typeface="+mn-ea"/>
          <a:cs typeface="+mn-cs"/>
        </a:defRPr>
      </a:lvl6pPr>
      <a:lvl7pPr marL="3263689" algn="l" defTabSz="1087896" rtl="0" eaLnBrk="1" latinLnBrk="0" hangingPunct="1">
        <a:defRPr sz="2200" kern="1200">
          <a:solidFill>
            <a:schemeClr val="tx1"/>
          </a:solidFill>
          <a:latin typeface="+mn-lt"/>
          <a:ea typeface="+mn-ea"/>
          <a:cs typeface="+mn-cs"/>
        </a:defRPr>
      </a:lvl7pPr>
      <a:lvl8pPr marL="3807638" algn="l" defTabSz="1087896" rtl="0" eaLnBrk="1" latinLnBrk="0" hangingPunct="1">
        <a:defRPr sz="2200" kern="1200">
          <a:solidFill>
            <a:schemeClr val="tx1"/>
          </a:solidFill>
          <a:latin typeface="+mn-lt"/>
          <a:ea typeface="+mn-ea"/>
          <a:cs typeface="+mn-cs"/>
        </a:defRPr>
      </a:lvl8pPr>
      <a:lvl9pPr marL="4351586" algn="l" defTabSz="1087896"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9"/>
            <a:ext cx="11653521" cy="186820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803416700"/>
      </p:ext>
    </p:extLst>
  </p:cSld>
  <p:clrMap bg1="dk1" tx1="lt1" bg2="dk2" tx2="lt2" accent1="accent1" accent2="accent2" accent3="accent3" accent4="accent4" accent5="accent5" accent6="accent6" hlink="hlink" folHlink="folHlink"/>
  <p:transition>
    <p:fade/>
  </p:transition>
  <p:txStyles>
    <p:titleStyle>
      <a:lvl1pPr algn="l" defTabSz="914192" rtl="0" eaLnBrk="1" latinLnBrk="0" hangingPunct="1">
        <a:lnSpc>
          <a:spcPct val="90000"/>
        </a:lnSpc>
        <a:spcBef>
          <a:spcPct val="0"/>
        </a:spcBef>
        <a:buNone/>
        <a:defRPr lang="en-US" sz="44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79">
          <p15:clr>
            <a:srgbClr val="C35EA4"/>
          </p15:clr>
        </p15:guide>
        <p15:guide id="17" pos="7400">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8" name="Group 17"/>
          <p:cNvGrpSpPr/>
          <p:nvPr userDrawn="1"/>
        </p:nvGrpSpPr>
        <p:grpSpPr>
          <a:xfrm>
            <a:off x="12370906" y="-217"/>
            <a:ext cx="935477" cy="5654618"/>
            <a:chOff x="12618967" y="-221"/>
            <a:chExt cx="954235" cy="5767186"/>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32 B:80</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14102" fontAlgn="base">
                  <a:lnSpc>
                    <a:spcPct val="100000"/>
                  </a:lnSpc>
                  <a:spcBef>
                    <a:spcPct val="0"/>
                  </a:spcBef>
                  <a:spcAft>
                    <a:spcPct val="0"/>
                  </a:spcAft>
                </a:pPr>
                <a:r>
                  <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49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1013179315"/>
      </p:ext>
    </p:extLst>
  </p:cSld>
  <p:clrMap bg1="lt1" tx1="dk1" bg2="lt2" tx2="dk2" accent1="accent1" accent2="accent2" accent3="accent3" accent4="accent4" accent5="accent5" accent6="accent6" hlink="hlink" folHlink="folHlink"/>
  <p:sldLayoutIdLst>
    <p:sldLayoutId id="2147484834" r:id="rId1"/>
    <p:sldLayoutId id="2147484835" r:id="rId2"/>
    <p:sldLayoutId id="2147484836" r:id="rId3"/>
    <p:sldLayoutId id="2147484837" r:id="rId4"/>
    <p:sldLayoutId id="2147484838" r:id="rId5"/>
    <p:sldLayoutId id="2147484839" r:id="rId6"/>
    <p:sldLayoutId id="2147484840" r:id="rId7"/>
    <p:sldLayoutId id="2147484841" r:id="rId8"/>
    <p:sldLayoutId id="2147484842" r:id="rId9"/>
    <p:sldLayoutId id="2147484843" r:id="rId10"/>
    <p:sldLayoutId id="2147484844" r:id="rId11"/>
    <p:sldLayoutId id="2147484845" r:id="rId12"/>
    <p:sldLayoutId id="2147484846" r:id="rId13"/>
    <p:sldLayoutId id="2147484847" r:id="rId14"/>
    <p:sldLayoutId id="2147484848" r:id="rId15"/>
    <p:sldLayoutId id="2147484849" r:id="rId16"/>
    <p:sldLayoutId id="2147484850" r:id="rId17"/>
    <p:sldLayoutId id="2147484851" r:id="rId18"/>
    <p:sldLayoutId id="2147484852" r:id="rId19"/>
    <p:sldLayoutId id="2147484853" r:id="rId20"/>
    <p:sldLayoutId id="2147484854" r:id="rId21"/>
    <p:sldLayoutId id="2147484855" r:id="rId22"/>
    <p:sldLayoutId id="2147484856" r:id="rId23"/>
    <p:sldLayoutId id="2147484857" r:id="rId24"/>
    <p:sldLayoutId id="2147484858" r:id="rId25"/>
    <p:sldLayoutId id="2147484859" r:id="rId26"/>
    <p:sldLayoutId id="2147484860" r:id="rId27"/>
    <p:sldLayoutId id="2147484861" r:id="rId2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9"/>
            <a:ext cx="11653521" cy="2103331"/>
          </a:xfrm>
          <a:prstGeom prst="rect">
            <a:avLst/>
          </a:prstGeom>
        </p:spPr>
        <p:txBody>
          <a:bodyPr vert="horz" wrap="square" lIns="182880" tIns="91440" rIns="91440" bIns="9144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4019744160"/>
      </p:ext>
    </p:extLst>
  </p:cSld>
  <p:clrMap bg1="lt1" tx1="dk1" bg2="lt2" tx2="dk2" accent1="accent1" accent2="accent2" accent3="accent3" accent4="accent4" accent5="accent5" accent6="accent6" hlink="hlink" folHlink="folHlink"/>
  <p:sldLayoutIdLst>
    <p:sldLayoutId id="2147484882" r:id="rId1"/>
    <p:sldLayoutId id="2147484883" r:id="rId2"/>
    <p:sldLayoutId id="2147484884" r:id="rId3"/>
    <p:sldLayoutId id="2147484885" r:id="rId4"/>
    <p:sldLayoutId id="2147484886" r:id="rId5"/>
    <p:sldLayoutId id="2147484887" r:id="rId6"/>
    <p:sldLayoutId id="2147484888" r:id="rId7"/>
    <p:sldLayoutId id="2147484889" r:id="rId8"/>
    <p:sldLayoutId id="2147484890" r:id="rId9"/>
    <p:sldLayoutId id="2147484891" r:id="rId10"/>
    <p:sldLayoutId id="2147484892" r:id="rId11"/>
    <p:sldLayoutId id="2147484893" r:id="rId12"/>
    <p:sldLayoutId id="2147484894" r:id="rId13"/>
    <p:sldLayoutId id="2147484895" r:id="rId14"/>
    <p:sldLayoutId id="2147484896" r:id="rId15"/>
    <p:sldLayoutId id="2147484897" r:id="rId16"/>
    <p:sldLayoutId id="2147484898" r:id="rId17"/>
    <p:sldLayoutId id="2147484899" r:id="rId18"/>
    <p:sldLayoutId id="2147484900" r:id="rId19"/>
    <p:sldLayoutId id="2147484901" r:id="rId20"/>
    <p:sldLayoutId id="2147484902" r:id="rId21"/>
    <p:sldLayoutId id="2147484903" r:id="rId22"/>
    <p:sldLayoutId id="2147484904" r:id="rId23"/>
    <p:sldLayoutId id="2147484905" r:id="rId24"/>
    <p:sldLayoutId id="2147484906" r:id="rId25"/>
    <p:sldLayoutId id="2147484907" r:id="rId26"/>
    <p:sldLayoutId id="2147484908" r:id="rId27"/>
    <p:sldLayoutId id="2147484909" r:id="rId28"/>
    <p:sldLayoutId id="2147484910" r:id="rId29"/>
  </p:sldLayoutIdLst>
  <p:transition>
    <p:fade/>
  </p:transition>
  <p:hf hdr="0" dt="0"/>
  <p:txStyles>
    <p:titleStyle>
      <a:lvl1pPr algn="l" defTabSz="914192" rtl="0" eaLnBrk="1" latinLnBrk="0" hangingPunct="1">
        <a:lnSpc>
          <a:spcPct val="90000"/>
        </a:lnSpc>
        <a:spcBef>
          <a:spcPct val="0"/>
        </a:spcBef>
        <a:buNone/>
        <a:defRPr lang="en-US" sz="4117" b="0" kern="1200" cap="none" spc="-100" baseline="0" dirty="0" smtClean="0">
          <a:ln w="3175">
            <a:noFill/>
          </a:ln>
          <a:solidFill>
            <a:schemeClr val="tx1"/>
          </a:solidFill>
          <a:effectLst/>
          <a:latin typeface="+mj-lt"/>
          <a:ea typeface="+mn-ea"/>
          <a:cs typeface="Segoe UI" pitchFamily="34" charset="0"/>
        </a:defRPr>
      </a:lvl1pPr>
    </p:titleStyle>
    <p:bodyStyle>
      <a:lvl1pPr marL="336080" marR="0" indent="-336080" algn="l" defTabSz="914192" rtl="0" eaLnBrk="1" fontAlgn="auto" latinLnBrk="0" hangingPunct="1">
        <a:lnSpc>
          <a:spcPct val="95000"/>
        </a:lnSpc>
        <a:spcBef>
          <a:spcPts val="0"/>
        </a:spcBef>
        <a:spcAft>
          <a:spcPts val="1175"/>
        </a:spcAft>
        <a:buClrTx/>
        <a:buSzPct val="90000"/>
        <a:buFont typeface="Arial" pitchFamily="34" charset="0"/>
        <a:buChar char="•"/>
        <a:tabLst/>
        <a:defRPr sz="2745" kern="1200" spc="0" baseline="0">
          <a:solidFill>
            <a:schemeClr val="tx1"/>
          </a:solidFill>
          <a:latin typeface="+mj-lt"/>
          <a:ea typeface="+mn-ea"/>
          <a:cs typeface="+mn-cs"/>
        </a:defRPr>
      </a:lvl1pPr>
      <a:lvl2pPr marL="572581" marR="0" indent="-236500"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2pPr>
      <a:lvl3pPr marL="784187" marR="0" indent="-224054"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3pPr>
      <a:lvl4pPr marL="1008241" marR="0" indent="-224054"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4pPr>
      <a:lvl5pPr marL="1232294" marR="0" indent="-224054"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6" pos="269">
          <p15:clr>
            <a:srgbClr val="C35EA4"/>
          </p15:clr>
        </p15:guide>
        <p15:guide id="17" pos="7565">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258">
          <p15:clr>
            <a:srgbClr val="C35EA4"/>
          </p15:clr>
        </p15:guide>
        <p15:guide id="26" orient="horz" pos="4032">
          <p15:clr>
            <a:srgbClr val="C35EA4"/>
          </p15:clr>
        </p15:guide>
        <p15:guide id="27" orient="horz" pos="523">
          <p15:clr>
            <a:srgbClr val="C35EA4"/>
          </p15:clr>
        </p15:guide>
        <p15:guide id="28" orient="horz" pos="85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0" cstate="screen">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35293631"/>
      </p:ext>
    </p:extLst>
  </p:cSld>
  <p:clrMap bg1="lt1" tx1="dk1" bg2="lt2" tx2="dk2" accent1="accent1" accent2="accent2" accent3="accent3" accent4="accent4" accent5="accent5" accent6="accent6" hlink="hlink" folHlink="folHlink"/>
  <p:sldLayoutIdLst>
    <p:sldLayoutId id="2147484912" r:id="rId1"/>
    <p:sldLayoutId id="2147484913" r:id="rId2"/>
    <p:sldLayoutId id="2147484914" r:id="rId3"/>
    <p:sldLayoutId id="2147484915" r:id="rId4"/>
    <p:sldLayoutId id="2147484916" r:id="rId5"/>
    <p:sldLayoutId id="2147484917" r:id="rId6"/>
    <p:sldLayoutId id="2147484918" r:id="rId7"/>
    <p:sldLayoutId id="2147484919" r:id="rId8"/>
    <p:sldLayoutId id="2147484920" r:id="rId9"/>
    <p:sldLayoutId id="2147484921" r:id="rId10"/>
    <p:sldLayoutId id="2147484922" r:id="rId11"/>
    <p:sldLayoutId id="2147484923" r:id="rId12"/>
    <p:sldLayoutId id="2147484924" r:id="rId13"/>
    <p:sldLayoutId id="2147484925" r:id="rId14"/>
    <p:sldLayoutId id="2147484926" r:id="rId15"/>
    <p:sldLayoutId id="2147484927" r:id="rId16"/>
    <p:sldLayoutId id="2147484928" r:id="rId17"/>
    <p:sldLayoutId id="2147484929" r:id="rId18"/>
    <p:sldLayoutId id="2147484930" r:id="rId19"/>
    <p:sldLayoutId id="2147484931" r:id="rId20"/>
    <p:sldLayoutId id="2147484932" r:id="rId21"/>
    <p:sldLayoutId id="2147484933" r:id="rId22"/>
    <p:sldLayoutId id="2147484934" r:id="rId23"/>
    <p:sldLayoutId id="2147484935" r:id="rId24"/>
    <p:sldLayoutId id="2147484936" r:id="rId25"/>
    <p:sldLayoutId id="2147484937" r:id="rId26"/>
    <p:sldLayoutId id="2147484938" r:id="rId27"/>
    <p:sldLayoutId id="2147484939" r:id="rId28"/>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4"/>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80"/>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3" y="-8231"/>
            <a:ext cx="936855" cy="5662633"/>
            <a:chOff x="12618967" y="-8396"/>
            <a:chExt cx="955641" cy="5775361"/>
          </a:xfrm>
        </p:grpSpPr>
        <p:grpSp>
          <p:nvGrpSpPr>
            <p:cNvPr id="18" name="Group 17"/>
            <p:cNvGrpSpPr/>
            <p:nvPr userDrawn="1"/>
          </p:nvGrpSpPr>
          <p:grpSpPr>
            <a:xfrm>
              <a:off x="12618967" y="-8396"/>
              <a:ext cx="955641" cy="5724185"/>
              <a:chOff x="12618967" y="-8396"/>
              <a:chExt cx="955641" cy="5724185"/>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836"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3836"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836"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3836"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3836"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3836"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3836"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13836"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userDrawn="1"/>
            </p:nvGrpSpPr>
            <p:grpSpPr>
              <a:xfrm rot="5400000">
                <a:off x="11870606" y="3812276"/>
                <a:ext cx="1786491" cy="289766"/>
                <a:chOff x="4476564" y="4543426"/>
                <a:chExt cx="1786491" cy="289766"/>
              </a:xfrm>
            </p:grpSpPr>
            <p:sp>
              <p:nvSpPr>
                <p:cNvPr id="33" name="Rectangle 32"/>
                <p:cNvSpPr/>
                <p:nvPr userDrawn="1"/>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13836"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userDrawn="1"/>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13836"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2"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836" rtl="0" eaLnBrk="1" fontAlgn="base" latinLnBrk="0" hangingPunct="1">
                <a:lnSpc>
                  <a:spcPct val="100000"/>
                </a:lnSpc>
                <a:spcBef>
                  <a:spcPct val="0"/>
                </a:spcBef>
                <a:spcAft>
                  <a:spcPct val="0"/>
                </a:spcAft>
              </a:pPr>
              <a:r>
                <a:rPr lang="en-US" sz="49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13836" rtl="0" eaLnBrk="1" fontAlgn="base" latinLnBrk="0" hangingPunct="1">
                <a:lnSpc>
                  <a:spcPct val="100000"/>
                </a:lnSpc>
                <a:spcBef>
                  <a:spcPct val="0"/>
                </a:spcBef>
                <a:spcAft>
                  <a:spcPct val="0"/>
                </a:spcAft>
              </a:pPr>
              <a:r>
                <a:rPr lang="en-US" sz="49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1037874341"/>
      </p:ext>
    </p:extLst>
  </p:cSld>
  <p:clrMap bg1="lt1" tx1="dk1" bg2="lt2" tx2="dk2" accent1="accent1" accent2="accent2" accent3="accent3" accent4="accent4" accent5="accent5" accent6="accent6" hlink="hlink" folHlink="folHlink"/>
  <p:sldLayoutIdLst>
    <p:sldLayoutId id="2147484941" r:id="rId1"/>
    <p:sldLayoutId id="2147484942" r:id="rId2"/>
    <p:sldLayoutId id="2147484943" r:id="rId3"/>
    <p:sldLayoutId id="2147484944" r:id="rId4"/>
    <p:sldLayoutId id="2147484945" r:id="rId5"/>
    <p:sldLayoutId id="2147484946" r:id="rId6"/>
    <p:sldLayoutId id="2147484947" r:id="rId7"/>
    <p:sldLayoutId id="2147484948" r:id="rId8"/>
    <p:sldLayoutId id="2147484949" r:id="rId9"/>
    <p:sldLayoutId id="2147484950" r:id="rId10"/>
    <p:sldLayoutId id="2147484951" r:id="rId11"/>
    <p:sldLayoutId id="2147484952" r:id="rId12"/>
    <p:sldLayoutId id="2147484953" r:id="rId13"/>
  </p:sldLayoutIdLst>
  <p:transition>
    <p:fade/>
  </p:transition>
  <p:txStyles>
    <p:titleStyle>
      <a:lvl1pPr algn="l" defTabSz="91410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47" marR="0" indent="-336047" algn="l" defTabSz="914100"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25" marR="0" indent="-236477" algn="l" defTabSz="914100"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09" marR="0" indent="-224032" algn="l" defTabSz="914100"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141" marR="0" indent="-224032" algn="l" defTabSz="914100"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170" marR="0" indent="-224032" algn="l" defTabSz="914100"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3775" indent="-228526" algn="l" defTabSz="914100"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826" indent="-228526" algn="l" defTabSz="914100"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876" indent="-228526" algn="l" defTabSz="914100"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927" indent="-228526" algn="l" defTabSz="914100"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00" rtl="0" eaLnBrk="1" latinLnBrk="0" hangingPunct="1">
        <a:defRPr sz="1765" kern="1200">
          <a:solidFill>
            <a:schemeClr val="tx1"/>
          </a:solidFill>
          <a:latin typeface="+mn-lt"/>
          <a:ea typeface="+mn-ea"/>
          <a:cs typeface="+mn-cs"/>
        </a:defRPr>
      </a:lvl1pPr>
      <a:lvl2pPr marL="457049" algn="l" defTabSz="914100" rtl="0" eaLnBrk="1" latinLnBrk="0" hangingPunct="1">
        <a:defRPr sz="1765" kern="1200">
          <a:solidFill>
            <a:schemeClr val="tx1"/>
          </a:solidFill>
          <a:latin typeface="+mn-lt"/>
          <a:ea typeface="+mn-ea"/>
          <a:cs typeface="+mn-cs"/>
        </a:defRPr>
      </a:lvl2pPr>
      <a:lvl3pPr marL="914100" algn="l" defTabSz="914100" rtl="0" eaLnBrk="1" latinLnBrk="0" hangingPunct="1">
        <a:defRPr sz="1765" kern="1200">
          <a:solidFill>
            <a:schemeClr val="tx1"/>
          </a:solidFill>
          <a:latin typeface="+mn-lt"/>
          <a:ea typeface="+mn-ea"/>
          <a:cs typeface="+mn-cs"/>
        </a:defRPr>
      </a:lvl3pPr>
      <a:lvl4pPr marL="1371150" algn="l" defTabSz="914100" rtl="0" eaLnBrk="1" latinLnBrk="0" hangingPunct="1">
        <a:defRPr sz="1765" kern="1200">
          <a:solidFill>
            <a:schemeClr val="tx1"/>
          </a:solidFill>
          <a:latin typeface="+mn-lt"/>
          <a:ea typeface="+mn-ea"/>
          <a:cs typeface="+mn-cs"/>
        </a:defRPr>
      </a:lvl4pPr>
      <a:lvl5pPr marL="1828200" algn="l" defTabSz="914100" rtl="0" eaLnBrk="1" latinLnBrk="0" hangingPunct="1">
        <a:defRPr sz="1765" kern="1200">
          <a:solidFill>
            <a:schemeClr val="tx1"/>
          </a:solidFill>
          <a:latin typeface="+mn-lt"/>
          <a:ea typeface="+mn-ea"/>
          <a:cs typeface="+mn-cs"/>
        </a:defRPr>
      </a:lvl5pPr>
      <a:lvl6pPr marL="2285251" algn="l" defTabSz="914100" rtl="0" eaLnBrk="1" latinLnBrk="0" hangingPunct="1">
        <a:defRPr sz="1765" kern="1200">
          <a:solidFill>
            <a:schemeClr val="tx1"/>
          </a:solidFill>
          <a:latin typeface="+mn-lt"/>
          <a:ea typeface="+mn-ea"/>
          <a:cs typeface="+mn-cs"/>
        </a:defRPr>
      </a:lvl6pPr>
      <a:lvl7pPr marL="2742300" algn="l" defTabSz="914100" rtl="0" eaLnBrk="1" latinLnBrk="0" hangingPunct="1">
        <a:defRPr sz="1765" kern="1200">
          <a:solidFill>
            <a:schemeClr val="tx1"/>
          </a:solidFill>
          <a:latin typeface="+mn-lt"/>
          <a:ea typeface="+mn-ea"/>
          <a:cs typeface="+mn-cs"/>
        </a:defRPr>
      </a:lvl7pPr>
      <a:lvl8pPr marL="3199350" algn="l" defTabSz="914100" rtl="0" eaLnBrk="1" latinLnBrk="0" hangingPunct="1">
        <a:defRPr sz="1765" kern="1200">
          <a:solidFill>
            <a:schemeClr val="tx1"/>
          </a:solidFill>
          <a:latin typeface="+mn-lt"/>
          <a:ea typeface="+mn-ea"/>
          <a:cs typeface="+mn-cs"/>
        </a:defRPr>
      </a:lvl8pPr>
      <a:lvl9pPr marL="3656401" algn="l" defTabSz="914100"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4">
          <p15:clr>
            <a:srgbClr val="5ACBF0"/>
          </p15:clr>
        </p15:guide>
        <p15:guide id="10" pos="4780">
          <p15:clr>
            <a:srgbClr val="5ACBF0"/>
          </p15:clr>
        </p15:guide>
        <p15:guide id="11" pos="5356">
          <p15:clr>
            <a:srgbClr val="5ACBF0"/>
          </p15:clr>
        </p15:guide>
        <p15:guide id="12" pos="5932">
          <p15:clr>
            <a:srgbClr val="5ACBF0"/>
          </p15:clr>
        </p15:guide>
        <p15:guide id="13" pos="6508">
          <p15:clr>
            <a:srgbClr val="5ACBF0"/>
          </p15:clr>
        </p15:guide>
        <p15:guide id="14" pos="7084">
          <p15:clr>
            <a:srgbClr val="5ACBF0"/>
          </p15:clr>
        </p15:guide>
        <p15:guide id="15" pos="7660">
          <p15:clr>
            <a:srgbClr val="5ACBF0"/>
          </p15:clr>
        </p15:guide>
        <p15:guide id="16" pos="288">
          <p15:clr>
            <a:srgbClr val="C35EA4"/>
          </p15:clr>
        </p15:guide>
        <p15:guide id="17" pos="7545">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9"/>
            <a:ext cx="11653521" cy="2103331"/>
          </a:xfrm>
          <a:prstGeom prst="rect">
            <a:avLst/>
          </a:prstGeom>
        </p:spPr>
        <p:txBody>
          <a:bodyPr vert="horz" wrap="square" lIns="182880" tIns="91440" rIns="91440" bIns="9144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lgn="l">
              <a:defRPr sz="1175">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547700521"/>
      </p:ext>
    </p:extLst>
  </p:cSld>
  <p:clrMap bg1="lt1" tx1="dk1" bg2="lt2" tx2="dk2" accent1="accent1" accent2="accent2" accent3="accent3" accent4="accent4" accent5="accent5" accent6="accent6" hlink="hlink" folHlink="folHlink"/>
  <p:sldLayoutIdLst>
    <p:sldLayoutId id="2147484654" r:id="rId1"/>
    <p:sldLayoutId id="2147484655" r:id="rId2"/>
    <p:sldLayoutId id="2147484656" r:id="rId3"/>
    <p:sldLayoutId id="2147484657" r:id="rId4"/>
    <p:sldLayoutId id="2147484658" r:id="rId5"/>
    <p:sldLayoutId id="2147484659" r:id="rId6"/>
    <p:sldLayoutId id="2147484660" r:id="rId7"/>
    <p:sldLayoutId id="2147484661" r:id="rId8"/>
    <p:sldLayoutId id="2147484662" r:id="rId9"/>
    <p:sldLayoutId id="2147484663" r:id="rId10"/>
    <p:sldLayoutId id="2147484664" r:id="rId11"/>
    <p:sldLayoutId id="2147484665" r:id="rId12"/>
    <p:sldLayoutId id="2147484666" r:id="rId13"/>
    <p:sldLayoutId id="2147484667" r:id="rId14"/>
    <p:sldLayoutId id="2147484668" r:id="rId15"/>
    <p:sldLayoutId id="2147484669" r:id="rId16"/>
    <p:sldLayoutId id="2147484670" r:id="rId17"/>
    <p:sldLayoutId id="2147484671" r:id="rId18"/>
    <p:sldLayoutId id="2147484672" r:id="rId19"/>
    <p:sldLayoutId id="2147484673" r:id="rId20"/>
    <p:sldLayoutId id="2147484674" r:id="rId21"/>
    <p:sldLayoutId id="2147484675" r:id="rId22"/>
    <p:sldLayoutId id="2147484676" r:id="rId23"/>
    <p:sldLayoutId id="2147484698" r:id="rId24"/>
  </p:sldLayoutIdLst>
  <p:transition>
    <p:fade/>
  </p:transition>
  <p:hf hdr="0" dt="0"/>
  <p:txStyles>
    <p:titleStyle>
      <a:lvl1pPr algn="l" defTabSz="914192" rtl="0" eaLnBrk="1" latinLnBrk="0" hangingPunct="1">
        <a:lnSpc>
          <a:spcPct val="90000"/>
        </a:lnSpc>
        <a:spcBef>
          <a:spcPct val="0"/>
        </a:spcBef>
        <a:buNone/>
        <a:defRPr lang="en-US" sz="4117" b="0" kern="1200" cap="none" spc="-100" baseline="0" dirty="0" smtClean="0">
          <a:ln w="3175">
            <a:noFill/>
          </a:ln>
          <a:solidFill>
            <a:schemeClr val="tx1"/>
          </a:solidFill>
          <a:effectLst/>
          <a:latin typeface="+mj-lt"/>
          <a:ea typeface="+mn-ea"/>
          <a:cs typeface="Segoe UI" pitchFamily="34" charset="0"/>
        </a:defRPr>
      </a:lvl1pPr>
    </p:titleStyle>
    <p:bodyStyle>
      <a:lvl1pPr marL="336080" marR="0" indent="-336080" algn="l" defTabSz="914192" rtl="0" eaLnBrk="1" fontAlgn="auto" latinLnBrk="0" hangingPunct="1">
        <a:lnSpc>
          <a:spcPct val="95000"/>
        </a:lnSpc>
        <a:spcBef>
          <a:spcPts val="0"/>
        </a:spcBef>
        <a:spcAft>
          <a:spcPts val="1175"/>
        </a:spcAft>
        <a:buClrTx/>
        <a:buSzPct val="90000"/>
        <a:buFont typeface="Arial" pitchFamily="34" charset="0"/>
        <a:buChar char="•"/>
        <a:tabLst/>
        <a:defRPr sz="2745" kern="1200" spc="0" baseline="0">
          <a:solidFill>
            <a:schemeClr val="tx1"/>
          </a:solidFill>
          <a:latin typeface="+mj-lt"/>
          <a:ea typeface="+mn-ea"/>
          <a:cs typeface="+mn-cs"/>
        </a:defRPr>
      </a:lvl1pPr>
      <a:lvl2pPr marL="572581" marR="0" indent="-236500"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2pPr>
      <a:lvl3pPr marL="784187" marR="0" indent="-224054"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3pPr>
      <a:lvl4pPr marL="1008241" marR="0" indent="-224054"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4pPr>
      <a:lvl5pPr marL="1232294" marR="0" indent="-224054" algn="l" defTabSz="914192" rtl="0" eaLnBrk="1" fontAlgn="auto" latinLnBrk="0" hangingPunct="1">
        <a:lnSpc>
          <a:spcPct val="95000"/>
        </a:lnSpc>
        <a:spcBef>
          <a:spcPts val="0"/>
        </a:spcBef>
        <a:spcAft>
          <a:spcPts val="1175"/>
        </a:spcAft>
        <a:buClrTx/>
        <a:buSzPct val="90000"/>
        <a:buFont typeface="Arial" pitchFamily="34" charset="0"/>
        <a:buChar char="•"/>
        <a:tabLst/>
        <a:defRPr sz="1568" kern="1200" spc="0" baseline="0">
          <a:solidFill>
            <a:schemeClr val="tx1"/>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6" pos="269">
          <p15:clr>
            <a:srgbClr val="C35EA4"/>
          </p15:clr>
        </p15:guide>
        <p15:guide id="17" pos="7565">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258">
          <p15:clr>
            <a:srgbClr val="C35EA4"/>
          </p15:clr>
        </p15:guide>
        <p15:guide id="26" orient="horz" pos="4032">
          <p15:clr>
            <a:srgbClr val="C35EA4"/>
          </p15:clr>
        </p15:guide>
        <p15:guide id="27" orient="horz" pos="523">
          <p15:clr>
            <a:srgbClr val="C35EA4"/>
          </p15:clr>
        </p15:guide>
        <p15:guide id="28" orient="horz" pos="85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0"/>
          <a:stretch>
            <a:fillRect/>
          </a:stretch>
        </p:blipFill>
        <p:spPr>
          <a:xfrm rot="5400000">
            <a:off x="9187080" y="3012391"/>
            <a:ext cx="6858623" cy="833218"/>
          </a:xfrm>
          <a:prstGeom prst="rect">
            <a:avLst/>
          </a:prstGeom>
        </p:spPr>
      </p:pic>
    </p:spTree>
    <p:extLst>
      <p:ext uri="{BB962C8B-B14F-4D97-AF65-F5344CB8AC3E}">
        <p14:creationId xmlns:p14="http://schemas.microsoft.com/office/powerpoint/2010/main" val="2797868667"/>
      </p:ext>
    </p:extLst>
  </p:cSld>
  <p:clrMap bg1="dk1" tx1="lt1" bg2="dk2" tx2="lt2" accent1="accent1" accent2="accent2" accent3="accent3" accent4="accent4" accent5="accent5" accent6="accent6" hlink="hlink" folHlink="folHlink"/>
  <p:sldLayoutIdLst>
    <p:sldLayoutId id="2147484678" r:id="rId1"/>
    <p:sldLayoutId id="2147484679" r:id="rId2"/>
    <p:sldLayoutId id="2147484680" r:id="rId3"/>
    <p:sldLayoutId id="2147484681" r:id="rId4"/>
    <p:sldLayoutId id="2147484682" r:id="rId5"/>
    <p:sldLayoutId id="2147484683" r:id="rId6"/>
    <p:sldLayoutId id="2147484684" r:id="rId7"/>
    <p:sldLayoutId id="2147484685" r:id="rId8"/>
    <p:sldLayoutId id="2147484686" r:id="rId9"/>
    <p:sldLayoutId id="2147484687" r:id="rId10"/>
    <p:sldLayoutId id="2147484688" r:id="rId11"/>
    <p:sldLayoutId id="2147484689" r:id="rId12"/>
    <p:sldLayoutId id="2147484690" r:id="rId13"/>
    <p:sldLayoutId id="2147484691" r:id="rId14"/>
    <p:sldLayoutId id="2147484692" r:id="rId15"/>
    <p:sldLayoutId id="2147484693" r:id="rId16"/>
    <p:sldLayoutId id="2147484694" r:id="rId17"/>
    <p:sldLayoutId id="2147484695" r:id="rId18"/>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64259562"/>
      </p:ext>
    </p:extLst>
  </p:cSld>
  <p:clrMap bg1="lt1" tx1="dk1" bg2="lt2" tx2="dk2" accent1="accent1" accent2="accent2" accent3="accent3" accent4="accent4" accent5="accent5" accent6="accent6" hlink="hlink" folHlink="folHlink"/>
  <p:sldLayoutIdLst>
    <p:sldLayoutId id="2147484697" r:id="rId1"/>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0"/>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4291947776"/>
      </p:ext>
    </p:extLst>
  </p:cSld>
  <p:clrMap bg1="dk1" tx1="lt1" bg2="dk2" tx2="lt2" accent1="accent1" accent2="accent2" accent3="accent3" accent4="accent4" accent5="accent5" accent6="accent6" hlink="hlink" folHlink="folHlink"/>
  <p:sldLayoutIdLst>
    <p:sldLayoutId id="2147484701" r:id="rId1"/>
    <p:sldLayoutId id="2147484702" r:id="rId2"/>
    <p:sldLayoutId id="2147484703" r:id="rId3"/>
    <p:sldLayoutId id="2147484704" r:id="rId4"/>
    <p:sldLayoutId id="2147484705" r:id="rId5"/>
    <p:sldLayoutId id="2147484706" r:id="rId6"/>
    <p:sldLayoutId id="2147484707" r:id="rId7"/>
    <p:sldLayoutId id="2147484708" r:id="rId8"/>
    <p:sldLayoutId id="2147484709" r:id="rId9"/>
    <p:sldLayoutId id="2147484710" r:id="rId10"/>
    <p:sldLayoutId id="2147484711" r:id="rId11"/>
    <p:sldLayoutId id="2147484712" r:id="rId12"/>
    <p:sldLayoutId id="2147484713" r:id="rId13"/>
    <p:sldLayoutId id="2147484714" r:id="rId14"/>
    <p:sldLayoutId id="2147484715" r:id="rId15"/>
    <p:sldLayoutId id="2147484716" r:id="rId16"/>
    <p:sldLayoutId id="2147484717" r:id="rId17"/>
    <p:sldLayoutId id="2147484718"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0" cstate="screen">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27037926"/>
      </p:ext>
    </p:extLst>
  </p:cSld>
  <p:clrMap bg1="lt1" tx1="dk1" bg2="lt2" tx2="dk2" accent1="accent1" accent2="accent2" accent3="accent3" accent4="accent4" accent5="accent5" accent6="accent6" hlink="hlink" folHlink="folHlink"/>
  <p:sldLayoutIdLst>
    <p:sldLayoutId id="2147484720" r:id="rId1"/>
    <p:sldLayoutId id="2147484721" r:id="rId2"/>
    <p:sldLayoutId id="2147484722" r:id="rId3"/>
    <p:sldLayoutId id="2147484723" r:id="rId4"/>
    <p:sldLayoutId id="2147484724" r:id="rId5"/>
    <p:sldLayoutId id="2147484725" r:id="rId6"/>
    <p:sldLayoutId id="2147484726" r:id="rId7"/>
    <p:sldLayoutId id="2147484727" r:id="rId8"/>
    <p:sldLayoutId id="2147484728" r:id="rId9"/>
    <p:sldLayoutId id="2147484729" r:id="rId10"/>
    <p:sldLayoutId id="2147484730" r:id="rId11"/>
    <p:sldLayoutId id="2147484731" r:id="rId12"/>
    <p:sldLayoutId id="2147484732" r:id="rId13"/>
    <p:sldLayoutId id="2147484733" r:id="rId14"/>
    <p:sldLayoutId id="2147484734" r:id="rId15"/>
    <p:sldLayoutId id="2147484735" r:id="rId16"/>
    <p:sldLayoutId id="2147484736" r:id="rId17"/>
    <p:sldLayoutId id="2147484737" r:id="rId18"/>
    <p:sldLayoutId id="2147484738" r:id="rId19"/>
    <p:sldLayoutId id="2147484739" r:id="rId20"/>
    <p:sldLayoutId id="2147484740" r:id="rId21"/>
    <p:sldLayoutId id="2147484741" r:id="rId22"/>
    <p:sldLayoutId id="2147484742" r:id="rId23"/>
    <p:sldLayoutId id="2147484743" r:id="rId24"/>
    <p:sldLayoutId id="2147484744" r:id="rId25"/>
    <p:sldLayoutId id="2147484745" r:id="rId26"/>
    <p:sldLayoutId id="2147484746" r:id="rId27"/>
    <p:sldLayoutId id="2147484747" r:id="rId28"/>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dirty="0"/>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44852472"/>
      </p:ext>
    </p:extLst>
  </p:cSld>
  <p:clrMap bg1="lt1" tx1="dk1" bg2="lt2" tx2="dk2" accent1="accent1" accent2="accent2" accent3="accent3" accent4="accent4" accent5="accent5" accent6="accent6" hlink="hlink" folHlink="folHlink"/>
  <p:sldLayoutIdLst>
    <p:sldLayoutId id="2147484749" r:id="rId1"/>
    <p:sldLayoutId id="2147484750" r:id="rId2"/>
    <p:sldLayoutId id="2147484751" r:id="rId3"/>
    <p:sldLayoutId id="2147484752" r:id="rId4"/>
    <p:sldLayoutId id="2147484753" r:id="rId5"/>
    <p:sldLayoutId id="2147484755" r:id="rId6"/>
    <p:sldLayoutId id="2147484756" r:id="rId7"/>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Segoe UI Light" panose="020B0502040204020203" pitchFamily="34" charset="0"/>
          <a:ea typeface="+mn-ea"/>
          <a:cs typeface="Segoe UI Light" panose="020B0502040204020203"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6"/>
          <a:stretch>
            <a:fillRect/>
          </a:stretch>
        </p:blipFill>
        <p:spPr>
          <a:xfrm rot="5400000">
            <a:off x="9208748" y="2991033"/>
            <a:ext cx="6858623" cy="876557"/>
          </a:xfrm>
          <a:prstGeom prst="rect">
            <a:avLst/>
          </a:prstGeom>
        </p:spPr>
      </p:pic>
      <p:pic>
        <p:nvPicPr>
          <p:cNvPr id="5" name="Picture 4"/>
          <p:cNvPicPr>
            <a:picLocks noChangeAspect="1"/>
          </p:cNvPicPr>
          <p:nvPr userDrawn="1"/>
        </p:nvPicPr>
        <p:blipFill>
          <a:blip r:embed="rId6"/>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4040035533"/>
      </p:ext>
    </p:extLst>
  </p:cSld>
  <p:clrMap bg1="lt1" tx1="dk1" bg2="lt2" tx2="dk2" accent1="accent1" accent2="accent2" accent3="accent3" accent4="accent4" accent5="accent5" accent6="accent6" hlink="hlink" folHlink="folHlink"/>
  <p:sldLayoutIdLst>
    <p:sldLayoutId id="2147484759" r:id="rId1"/>
    <p:sldLayoutId id="2147484760" r:id="rId2"/>
    <p:sldLayoutId id="2147484761" r:id="rId3"/>
    <p:sldLayoutId id="2147484762" r:id="rId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pPr>
            <a:r>
              <a:rPr lang="en-US" dirty="0"/>
              <a:t>Click to edit Master text styles</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grpSp>
        <p:nvGrpSpPr>
          <p:cNvPr id="42" name="Group 41"/>
          <p:cNvGrpSpPr/>
          <p:nvPr userDrawn="1"/>
        </p:nvGrpSpPr>
        <p:grpSpPr>
          <a:xfrm>
            <a:off x="12370906" y="-217"/>
            <a:ext cx="935477" cy="5654618"/>
            <a:chOff x="12618967" y="-221"/>
            <a:chExt cx="954235" cy="5767186"/>
          </a:xfrm>
        </p:grpSpPr>
        <p:grpSp>
          <p:nvGrpSpPr>
            <p:cNvPr id="43" name="Group 42"/>
            <p:cNvGrpSpPr/>
            <p:nvPr userDrawn="1"/>
          </p:nvGrpSpPr>
          <p:grpSpPr>
            <a:xfrm rot="5400000">
              <a:off x="11582059" y="1045293"/>
              <a:ext cx="2703052" cy="629236"/>
              <a:chOff x="1586734" y="4543426"/>
              <a:chExt cx="2703052" cy="629236"/>
            </a:xfrm>
          </p:grpSpPr>
          <p:sp>
            <p:nvSpPr>
              <p:cNvPr id="50" name="Rectangle 49"/>
              <p:cNvSpPr/>
              <p:nvPr userDrawn="1"/>
            </p:nvSpPr>
            <p:spPr bwMode="auto">
              <a:xfrm>
                <a:off x="2505456" y="4543427"/>
                <a:ext cx="869930" cy="289766"/>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ue</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120 B:215</a:t>
                </a:r>
              </a:p>
            </p:txBody>
          </p:sp>
          <p:sp>
            <p:nvSpPr>
              <p:cNvPr id="51" name="Rectangle 50"/>
              <p:cNvSpPr/>
              <p:nvPr userDrawn="1"/>
            </p:nvSpPr>
            <p:spPr bwMode="auto">
              <a:xfrm>
                <a:off x="1586734" y="4543428"/>
                <a:ext cx="869930" cy="289766"/>
              </a:xfrm>
              <a:prstGeom prst="rect">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28319">
                          <a:srgbClr val="505050"/>
                        </a:gs>
                        <a:gs pos="79000">
                          <a:srgbClr val="505050"/>
                        </a:gs>
                      </a:gsLst>
                      <a:lin ang="5400000" scaled="0"/>
                    </a:gradFill>
                    <a:effectLst/>
                    <a:uLnTx/>
                    <a:uFillTx/>
                    <a:latin typeface="Segoe UI"/>
                    <a:ea typeface="Segoe UI" pitchFamily="34" charset="0"/>
                    <a:cs typeface="Segoe UI" pitchFamily="34" charset="0"/>
                  </a:rPr>
                  <a:t>Cyan</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8319">
                          <a:srgbClr val="505050"/>
                        </a:gs>
                        <a:gs pos="79000">
                          <a:srgbClr val="505050"/>
                        </a:gs>
                      </a:gsLst>
                      <a:lin ang="5400000" scaled="0"/>
                    </a:gradFill>
                    <a:effectLst/>
                    <a:uLnTx/>
                    <a:uFillTx/>
                    <a:latin typeface="Segoe UI"/>
                    <a:ea typeface="Segoe UI" pitchFamily="34" charset="0"/>
                    <a:cs typeface="Segoe UI" pitchFamily="34" charset="0"/>
                  </a:rPr>
                  <a:t>R:0 G:188 B:242</a:t>
                </a:r>
              </a:p>
            </p:txBody>
          </p:sp>
          <p:sp>
            <p:nvSpPr>
              <p:cNvPr id="52" name="Rectangle 51"/>
              <p:cNvSpPr/>
              <p:nvPr userDrawn="1"/>
            </p:nvSpPr>
            <p:spPr bwMode="auto">
              <a:xfrm>
                <a:off x="1586734" y="4882896"/>
                <a:ext cx="869930" cy="289766"/>
              </a:xfrm>
              <a:prstGeom prst="rect">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Light Gray</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R:210 G:210 B:210</a:t>
                </a:r>
              </a:p>
            </p:txBody>
          </p:sp>
          <p:sp>
            <p:nvSpPr>
              <p:cNvPr id="53" name="Rectangle 52"/>
              <p:cNvSpPr/>
              <p:nvPr userDrawn="1"/>
            </p:nvSpPr>
            <p:spPr bwMode="auto">
              <a:xfrm>
                <a:off x="3419856" y="4543426"/>
                <a:ext cx="869930" cy="289766"/>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Blue</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0 G:32 B:80</a:t>
                </a:r>
              </a:p>
            </p:txBody>
          </p:sp>
          <p:sp>
            <p:nvSpPr>
              <p:cNvPr id="54" name="Rectangle 53"/>
              <p:cNvSpPr/>
              <p:nvPr userDrawn="1"/>
            </p:nvSpPr>
            <p:spPr bwMode="auto">
              <a:xfrm>
                <a:off x="3413144" y="4882896"/>
                <a:ext cx="869930" cy="289766"/>
              </a:xfrm>
              <a:prstGeom prst="rect">
                <a:avLst/>
              </a:prstGeom>
              <a:solidFill>
                <a:srgbClr val="323232"/>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Gray</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50 G:50 B:50</a:t>
                </a:r>
              </a:p>
            </p:txBody>
          </p:sp>
          <p:sp>
            <p:nvSpPr>
              <p:cNvPr id="55" name="Rectangle 54"/>
              <p:cNvSpPr/>
              <p:nvPr userDrawn="1"/>
            </p:nvSpPr>
            <p:spPr bwMode="auto">
              <a:xfrm>
                <a:off x="2505456" y="4882895"/>
                <a:ext cx="869930" cy="289766"/>
              </a:xfrm>
              <a:prstGeom prst="rect">
                <a:avLst/>
              </a:prstGeom>
              <a:solidFill>
                <a:srgbClr val="737373"/>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ay</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15 G:115 B:115</a:t>
                </a:r>
              </a:p>
            </p:txBody>
          </p:sp>
        </p:grpSp>
        <p:grpSp>
          <p:nvGrpSpPr>
            <p:cNvPr id="44" name="Group 43"/>
            <p:cNvGrpSpPr/>
            <p:nvPr userDrawn="1"/>
          </p:nvGrpSpPr>
          <p:grpSpPr>
            <a:xfrm rot="5400000">
              <a:off x="11412325" y="4270556"/>
              <a:ext cx="2703052" cy="289766"/>
              <a:chOff x="4476564" y="4543426"/>
              <a:chExt cx="2703052" cy="289766"/>
            </a:xfrm>
          </p:grpSpPr>
          <p:sp>
            <p:nvSpPr>
              <p:cNvPr id="47" name="Rectangle 46"/>
              <p:cNvSpPr/>
              <p:nvPr userDrawn="1"/>
            </p:nvSpPr>
            <p:spPr bwMode="auto">
              <a:xfrm>
                <a:off x="539528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lvl="0" defTabSz="914102" fontAlgn="base">
                  <a:lnSpc>
                    <a:spcPct val="100000"/>
                  </a:lnSpc>
                  <a:spcBef>
                    <a:spcPct val="0"/>
                  </a:spcBef>
                  <a:spcAft>
                    <a:spcPct val="0"/>
                  </a:spcAft>
                </a:pPr>
                <a:r>
                  <a:rPr lang="en-US" sz="490" b="1" baseline="0" noProof="0" dirty="0">
                    <a:gradFill>
                      <a:gsLst>
                        <a:gs pos="0">
                          <a:srgbClr val="FFFFFF"/>
                        </a:gs>
                        <a:gs pos="100000">
                          <a:srgbClr val="FFFFFF"/>
                        </a:gs>
                      </a:gsLst>
                      <a:lin ang="5400000" scaled="0"/>
                    </a:gradFill>
                    <a:ea typeface="Segoe UI" pitchFamily="34" charset="0"/>
                    <a:cs typeface="Segoe UI" pitchFamily="34" charset="0"/>
                  </a:rPr>
                  <a:t>Purple</a:t>
                </a:r>
              </a:p>
              <a:p>
                <a:pPr lvl="0" defTabSz="914102" fontAlgn="base">
                  <a:lnSpc>
                    <a:spcPct val="100000"/>
                  </a:lnSpc>
                  <a:spcBef>
                    <a:spcPct val="0"/>
                  </a:spcBef>
                  <a:spcAft>
                    <a:spcPct val="0"/>
                  </a:spcAft>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92 G:45 B:145</a:t>
                </a:r>
              </a:p>
            </p:txBody>
          </p:sp>
          <p:sp>
            <p:nvSpPr>
              <p:cNvPr id="48" name="Rectangle 47"/>
              <p:cNvSpPr/>
              <p:nvPr userDrawn="1"/>
            </p:nvSpPr>
            <p:spPr bwMode="auto">
              <a:xfrm>
                <a:off x="6309686" y="4543426"/>
                <a:ext cx="869930" cy="289766"/>
              </a:xfrm>
              <a:prstGeom prst="rect">
                <a:avLst/>
              </a:prstGeom>
              <a:solidFill>
                <a:srgbClr val="D83B01"/>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range</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216 G:59 B:1</a:t>
                </a:r>
              </a:p>
            </p:txBody>
          </p:sp>
          <p:sp>
            <p:nvSpPr>
              <p:cNvPr id="49" name="Rectangle 48"/>
              <p:cNvSpPr/>
              <p:nvPr userDrawn="1"/>
            </p:nvSpPr>
            <p:spPr bwMode="auto">
              <a:xfrm>
                <a:off x="4476564" y="4543426"/>
                <a:ext cx="869930" cy="289766"/>
              </a:xfrm>
              <a:prstGeom prst="rect">
                <a:avLst/>
              </a:prstGeom>
              <a:solidFill>
                <a:srgbClr val="107C10"/>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een</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 G:124 B:16</a:t>
                </a:r>
              </a:p>
            </p:txBody>
          </p:sp>
        </p:grpSp>
        <p:sp>
          <p:nvSpPr>
            <p:cNvPr id="45" name="TextBox 44"/>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dirty="0">
                  <a:ln>
                    <a:noFill/>
                  </a:ln>
                  <a:gradFill>
                    <a:gsLst>
                      <a:gs pos="2917">
                        <a:srgbClr val="505050"/>
                      </a:gs>
                      <a:gs pos="30000">
                        <a:srgbClr val="505050"/>
                      </a:gs>
                    </a:gsLst>
                    <a:lin ang="5400000" scaled="0"/>
                  </a:gradFill>
                  <a:effectLst/>
                  <a:uLnTx/>
                  <a:uFillTx/>
                </a:rPr>
                <a:t>Main colors</a:t>
              </a:r>
            </a:p>
          </p:txBody>
        </p:sp>
        <p:sp>
          <p:nvSpPr>
            <p:cNvPr id="46" name="TextBox 45"/>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dirty="0">
                  <a:ln>
                    <a:noFill/>
                  </a:ln>
                  <a:gradFill>
                    <a:gsLst>
                      <a:gs pos="2917">
                        <a:srgbClr val="505050"/>
                      </a:gs>
                      <a:gs pos="30000">
                        <a:srgbClr val="505050"/>
                      </a:gs>
                    </a:gsLst>
                    <a:lin ang="5400000" scaled="0"/>
                  </a:gradFill>
                  <a:effectLst/>
                  <a:uLnTx/>
                  <a:uFillTx/>
                </a:rPr>
                <a:t>Secondary colors (use only when necessary)</a:t>
              </a:r>
            </a:p>
          </p:txBody>
        </p:sp>
      </p:grpSp>
    </p:spTree>
    <p:extLst>
      <p:ext uri="{BB962C8B-B14F-4D97-AF65-F5344CB8AC3E}">
        <p14:creationId xmlns:p14="http://schemas.microsoft.com/office/powerpoint/2010/main" val="19867966"/>
      </p:ext>
    </p:extLst>
  </p:cSld>
  <p:clrMap bg1="dk1" tx1="lt1" bg2="dk2" tx2="lt2" accent1="accent1" accent2="accent2" accent3="accent3" accent4="accent4" accent5="accent5" accent6="accent6" hlink="hlink" folHlink="folHlink"/>
  <p:sldLayoutIdLst>
    <p:sldLayoutId id="2147484768" r:id="rId1"/>
    <p:sldLayoutId id="2147484769" r:id="rId2"/>
    <p:sldLayoutId id="2147484770" r:id="rId3"/>
    <p:sldLayoutId id="2147484771" r:id="rId4"/>
    <p:sldLayoutId id="2147484772" r:id="rId5"/>
    <p:sldLayoutId id="2147484773" r:id="rId6"/>
    <p:sldLayoutId id="2147484774" r:id="rId7"/>
    <p:sldLayoutId id="2147484775" r:id="rId8"/>
    <p:sldLayoutId id="2147484776" r:id="rId9"/>
    <p:sldLayoutId id="2147484777" r:id="rId10"/>
    <p:sldLayoutId id="2147484778" r:id="rId11"/>
    <p:sldLayoutId id="2147484779" r:id="rId12"/>
    <p:sldLayoutId id="2147484780" r:id="rId13"/>
    <p:sldLayoutId id="2147484781" r:id="rId14"/>
    <p:sldLayoutId id="2147484782" r:id="rId15"/>
    <p:sldLayoutId id="2147484783" r:id="rId16"/>
    <p:sldLayoutId id="2147484784" r:id="rId17"/>
    <p:sldLayoutId id="2147484785" r:id="rId18"/>
    <p:sldLayoutId id="2147484786" r:id="rId19"/>
    <p:sldLayoutId id="2147484787" r:id="rId20"/>
    <p:sldLayoutId id="2147484788" r:id="rId21"/>
    <p:sldLayoutId id="2147484789"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8.xml"/></Relationships>
</file>

<file path=ppt/slides/_rels/slide1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0.xml"/><Relationship Id="rId1" Type="http://schemas.openxmlformats.org/officeDocument/2006/relationships/slideLayout" Target="../slideLayouts/slideLayout71.xml"/></Relationships>
</file>

<file path=ppt/slides/_rels/slide1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1.xml"/><Relationship Id="rId1" Type="http://schemas.openxmlformats.org/officeDocument/2006/relationships/slideLayout" Target="../slideLayouts/slideLayout71.xml"/><Relationship Id="rId4" Type="http://schemas.openxmlformats.org/officeDocument/2006/relationships/image" Target="../media/image55.png"/></Relationships>
</file>

<file path=ppt/slides/_rels/slide1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2.xml"/><Relationship Id="rId1" Type="http://schemas.openxmlformats.org/officeDocument/2006/relationships/slideLayout" Target="../slideLayouts/slideLayout71.xml"/></Relationships>
</file>

<file path=ppt/slides/_rels/slide13.xml.rels><?xml version="1.0" encoding="UTF-8" standalone="yes"?>
<Relationships xmlns="http://schemas.openxmlformats.org/package/2006/relationships"><Relationship Id="rId3" Type="http://schemas.openxmlformats.org/officeDocument/2006/relationships/image" Target="../media/image57.gif"/><Relationship Id="rId2" Type="http://schemas.openxmlformats.org/officeDocument/2006/relationships/notesSlide" Target="../notesSlides/notesSlide13.xml"/><Relationship Id="rId1" Type="http://schemas.openxmlformats.org/officeDocument/2006/relationships/slideLayout" Target="../slideLayouts/slideLayout71.xml"/></Relationships>
</file>

<file path=ppt/slides/_rels/slide14.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4.xml"/><Relationship Id="rId1" Type="http://schemas.openxmlformats.org/officeDocument/2006/relationships/slideLayout" Target="../slideLayouts/slideLayout71.xml"/><Relationship Id="rId4" Type="http://schemas.openxmlformats.org/officeDocument/2006/relationships/image" Target="../media/image59.png"/></Relationships>
</file>

<file path=ppt/slides/_rels/slide15.xml.rels><?xml version="1.0" encoding="UTF-8" standalone="yes"?>
<Relationships xmlns="http://schemas.openxmlformats.org/package/2006/relationships"><Relationship Id="rId3" Type="http://schemas.openxmlformats.org/officeDocument/2006/relationships/hyperlink" Target="https://github.com/Azure/LearnAI-Airlift" TargetMode="External"/><Relationship Id="rId2" Type="http://schemas.openxmlformats.org/officeDocument/2006/relationships/notesSlide" Target="../notesSlides/notesSlide15.xml"/><Relationship Id="rId1" Type="http://schemas.openxmlformats.org/officeDocument/2006/relationships/slideLayout" Target="../slideLayouts/slideLayout17.xml"/><Relationship Id="rId4" Type="http://schemas.openxmlformats.org/officeDocument/2006/relationships/hyperlink" Target="https://aka.ms/luis-notes" TargetMode="Externa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8.xml"/></Relationships>
</file>

<file path=ppt/slides/_rels/slide3.xml.rels><?xml version="1.0" encoding="UTF-8" standalone="yes"?>
<Relationships xmlns="http://schemas.openxmlformats.org/package/2006/relationships"><Relationship Id="rId8" Type="http://schemas.openxmlformats.org/officeDocument/2006/relationships/hyperlink" Target="https://github.com/Azure/LearnAI-Bootcamp/blob/master/lab02.1-azure_search/0_README.md" TargetMode="External"/><Relationship Id="rId13" Type="http://schemas.openxmlformats.org/officeDocument/2006/relationships/hyperlink" Target="https://github.com/Azure/LearnAI-Bootcamp/blob/master/lab01.5-luis/0_README.md" TargetMode="External"/><Relationship Id="rId18" Type="http://schemas.openxmlformats.org/officeDocument/2006/relationships/hyperlink" Target="https://github.com/Azure/LearnAI-Cognitive-Search/blob/master/05-Lab-2-Image-Skills.md" TargetMode="External"/><Relationship Id="rId3" Type="http://schemas.openxmlformats.org/officeDocument/2006/relationships/hyperlink" Target="https://github.com/Azure/LearnAI-Bootcamp/blob/master/lab01.1-computer_vision/1_Setup.md" TargetMode="External"/><Relationship Id="rId7" Type="http://schemas.openxmlformats.org/officeDocument/2006/relationships/hyperlink" Target="https://github.com/Azure/LearnAI-Bootcamp/blob/master/lab01.3_customvision02/0_README.md" TargetMode="External"/><Relationship Id="rId12" Type="http://schemas.openxmlformats.org/officeDocument/2006/relationships/hyperlink" Target="https://github.com/Azure/LearnAI-DesigningandArchitectingIntelligentAgents/blob/master/03-luis/2_activity.md" TargetMode="External"/><Relationship Id="rId17" Type="http://schemas.openxmlformats.org/officeDocument/2006/relationships/hyperlink" Target="https://github.com/Azure/LearnAI-Cognitive-Search/blob/master/04-Lab-1-Text-Skills.md" TargetMode="External"/><Relationship Id="rId2" Type="http://schemas.openxmlformats.org/officeDocument/2006/relationships/notesSlide" Target="../notesSlides/notesSlide3.xml"/><Relationship Id="rId16" Type="http://schemas.openxmlformats.org/officeDocument/2006/relationships/hyperlink" Target="https://github.com/Azure/LearnAI-DesigningandArchitectingIntelligentAgents/blob/master/04-architectures/2_activity.md" TargetMode="External"/><Relationship Id="rId1" Type="http://schemas.openxmlformats.org/officeDocument/2006/relationships/slideLayout" Target="../slideLayouts/slideLayout48.xml"/><Relationship Id="rId6" Type="http://schemas.openxmlformats.org/officeDocument/2006/relationships/hyperlink" Target="https://github.com/Azure/LearnAI-Bootcamp/blob/master/lab01.2_customvision01/0_README.md" TargetMode="External"/><Relationship Id="rId11" Type="http://schemas.openxmlformats.org/officeDocument/2006/relationships/hyperlink" Target="https://github.com/Azure/LearnAI-DesigningandArchitectingIntelligentAgents/blob/master/02-bot_design/2_activity.md" TargetMode="External"/><Relationship Id="rId5" Type="http://schemas.openxmlformats.org/officeDocument/2006/relationships/hyperlink" Target="https://github.com/Azure/LearnAI-Bootcamp/blob/master/lab01.1-computer_vision/0_README.md" TargetMode="External"/><Relationship Id="rId15" Type="http://schemas.openxmlformats.org/officeDocument/2006/relationships/hyperlink" Target="https://github.com/Azure/LearnAI-Bootcamp/blob/master/lab02.2-building_bots/0_README.md" TargetMode="External"/><Relationship Id="rId10" Type="http://schemas.openxmlformats.org/officeDocument/2006/relationships/hyperlink" Target="https://github.com/Azure/LearnAI-DesigningandArchitectingIntelligentAgents/blob/master/03-luis/1_session.ipynb" TargetMode="External"/><Relationship Id="rId19" Type="http://schemas.openxmlformats.org/officeDocument/2006/relationships/hyperlink" Target="file:///c:\Users\antho\LearnAI-Airlift\final_case.md" TargetMode="External"/><Relationship Id="rId4" Type="http://schemas.openxmlformats.org/officeDocument/2006/relationships/hyperlink" Target="https://github.com/Azure/LearnAI-DesigningandArchitectingIntelligentAgents/blob/master/05-cognitive_services/1_session.ipynb" TargetMode="External"/><Relationship Id="rId9" Type="http://schemas.openxmlformats.org/officeDocument/2006/relationships/hyperlink" Target="https://github.com/Azure/LearnAI-DesigningandArchitectingIntelligentAgents/blob/master/02-bot_design/1_session.ipynb" TargetMode="External"/><Relationship Id="rId14" Type="http://schemas.openxmlformats.org/officeDocument/2006/relationships/hyperlink" Target="https://github.com/Azure/LearnAI-DesigningandArchitectingIntelligentAgents/blob/master/04-architectures/1_session.ipynb" TargetMode="Externa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1.xml"/></Relationships>
</file>

<file path=ppt/slides/_rels/slide9.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46.png"/><Relationship Id="rId7" Type="http://schemas.openxmlformats.org/officeDocument/2006/relationships/image" Target="../media/image50.png"/><Relationship Id="rId2" Type="http://schemas.openxmlformats.org/officeDocument/2006/relationships/notesSlide" Target="../notesSlides/notesSlide9.xml"/><Relationship Id="rId1" Type="http://schemas.openxmlformats.org/officeDocument/2006/relationships/slideLayout" Target="../slideLayouts/slideLayout71.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png"/><Relationship Id="rId9" Type="http://schemas.openxmlformats.org/officeDocument/2006/relationships/image" Target="../media/image52.png"/></Relationships>
</file>

<file path=ppt/slides/slide1.xml><?xml version="1.0" encoding="utf-8"?>
<p:sld xmlns:a="http://schemas.openxmlformats.org/drawingml/2006/main" xmlns:r="http://schemas.openxmlformats.org/officeDocument/2006/relationships" xmlns:p="http://schemas.openxmlformats.org/presentationml/2006/main" show="0">
  <p:cSld>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y 2</a:t>
            </a:r>
          </a:p>
        </p:txBody>
      </p:sp>
    </p:spTree>
    <p:extLst>
      <p:ext uri="{BB962C8B-B14F-4D97-AF65-F5344CB8AC3E}">
        <p14:creationId xmlns:p14="http://schemas.microsoft.com/office/powerpoint/2010/main" val="2361721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solidFill>
                  <a:schemeClr val="bg2"/>
                </a:solidFill>
              </a:rPr>
              <a:t>Training and testing your model</a:t>
            </a:r>
          </a:p>
        </p:txBody>
      </p:sp>
      <p:sp>
        <p:nvSpPr>
          <p:cNvPr id="6" name="Text Placeholder 5"/>
          <p:cNvSpPr>
            <a:spLocks noGrp="1"/>
          </p:cNvSpPr>
          <p:nvPr>
            <p:ph type="body" sz="quarter" idx="10"/>
          </p:nvPr>
        </p:nvSpPr>
        <p:spPr>
          <a:xfrm>
            <a:off x="269303" y="1187963"/>
            <a:ext cx="11655078" cy="583237"/>
          </a:xfrm>
        </p:spPr>
        <p:txBody>
          <a:bodyPr/>
          <a:lstStyle/>
          <a:p>
            <a:pPr marL="0" indent="0" fontAlgn="ctr">
              <a:buNone/>
            </a:pPr>
            <a:endParaRPr lang="en-US" sz="2800" dirty="0">
              <a:solidFill>
                <a:schemeClr val="bg2"/>
              </a:solidFill>
            </a:endParaRPr>
          </a:p>
        </p:txBody>
      </p:sp>
      <p:pic>
        <p:nvPicPr>
          <p:cNvPr id="3" name="Picture 2" descr="A screenshot of a cell phone&#10;&#10;Description generated with very high confidence">
            <a:extLst>
              <a:ext uri="{FF2B5EF4-FFF2-40B4-BE49-F238E27FC236}">
                <a16:creationId xmlns:a16="http://schemas.microsoft.com/office/drawing/2014/main" id="{02080E7B-7B6F-44F5-A13F-347E679F5FD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75324" y="1203922"/>
            <a:ext cx="8441352" cy="5056453"/>
          </a:xfrm>
          <a:prstGeom prst="rect">
            <a:avLst/>
          </a:prstGeom>
        </p:spPr>
      </p:pic>
      <p:sp>
        <p:nvSpPr>
          <p:cNvPr id="7" name="Rectangle 6">
            <a:extLst>
              <a:ext uri="{FF2B5EF4-FFF2-40B4-BE49-F238E27FC236}">
                <a16:creationId xmlns:a16="http://schemas.microsoft.com/office/drawing/2014/main" id="{52A3D7CA-8896-46F7-B879-8ABEA9E2DA81}"/>
              </a:ext>
            </a:extLst>
          </p:cNvPr>
          <p:cNvSpPr/>
          <p:nvPr/>
        </p:nvSpPr>
        <p:spPr>
          <a:xfrm>
            <a:off x="269240" y="6289751"/>
            <a:ext cx="4880093" cy="369332"/>
          </a:xfrm>
          <a:prstGeom prst="rect">
            <a:avLst/>
          </a:prstGeom>
        </p:spPr>
        <p:txBody>
          <a:bodyPr wrap="square">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8D7"/>
                </a:solidFill>
                <a:effectLst/>
                <a:uLnTx/>
                <a:uFillTx/>
                <a:latin typeface="Segoe UI Semilight"/>
                <a:ea typeface="+mn-ea"/>
                <a:cs typeface="+mn-cs"/>
              </a:rPr>
              <a:t>Developing LUIS models</a:t>
            </a:r>
          </a:p>
        </p:txBody>
      </p:sp>
    </p:spTree>
    <p:extLst>
      <p:ext uri="{BB962C8B-B14F-4D97-AF65-F5344CB8AC3E}">
        <p14:creationId xmlns:p14="http://schemas.microsoft.com/office/powerpoint/2010/main" val="2621870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solidFill>
                  <a:schemeClr val="bg2"/>
                </a:solidFill>
              </a:rPr>
              <a:t>Publishing your model</a:t>
            </a:r>
          </a:p>
        </p:txBody>
      </p:sp>
      <p:sp>
        <p:nvSpPr>
          <p:cNvPr id="6" name="Text Placeholder 5"/>
          <p:cNvSpPr>
            <a:spLocks noGrp="1"/>
          </p:cNvSpPr>
          <p:nvPr>
            <p:ph type="body" sz="quarter" idx="10"/>
          </p:nvPr>
        </p:nvSpPr>
        <p:spPr>
          <a:xfrm>
            <a:off x="269303" y="1187963"/>
            <a:ext cx="11655078" cy="583237"/>
          </a:xfrm>
        </p:spPr>
        <p:txBody>
          <a:bodyPr/>
          <a:lstStyle/>
          <a:p>
            <a:pPr fontAlgn="ctr"/>
            <a:endParaRPr lang="en-US" sz="2800" dirty="0">
              <a:solidFill>
                <a:schemeClr val="bg2"/>
              </a:solidFill>
            </a:endParaRPr>
          </a:p>
        </p:txBody>
      </p:sp>
      <p:sp>
        <p:nvSpPr>
          <p:cNvPr id="7" name="Rectangle 6">
            <a:extLst>
              <a:ext uri="{FF2B5EF4-FFF2-40B4-BE49-F238E27FC236}">
                <a16:creationId xmlns:a16="http://schemas.microsoft.com/office/drawing/2014/main" id="{7E1B6E87-9FFF-4DDE-B1C2-315F49D8E0AB}"/>
              </a:ext>
            </a:extLst>
          </p:cNvPr>
          <p:cNvSpPr/>
          <p:nvPr/>
        </p:nvSpPr>
        <p:spPr>
          <a:xfrm>
            <a:off x="269240" y="6289751"/>
            <a:ext cx="4880093" cy="369332"/>
          </a:xfrm>
          <a:prstGeom prst="rect">
            <a:avLst/>
          </a:prstGeom>
        </p:spPr>
        <p:txBody>
          <a:bodyPr wrap="square">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8D7"/>
                </a:solidFill>
                <a:effectLst/>
                <a:uLnTx/>
                <a:uFillTx/>
                <a:latin typeface="Segoe UI Semilight"/>
                <a:ea typeface="+mn-ea"/>
                <a:cs typeface="+mn-cs"/>
              </a:rPr>
              <a:t>Developing LUIS models</a:t>
            </a:r>
          </a:p>
        </p:txBody>
      </p:sp>
      <p:pic>
        <p:nvPicPr>
          <p:cNvPr id="2" name="Picture 1">
            <a:extLst>
              <a:ext uri="{FF2B5EF4-FFF2-40B4-BE49-F238E27FC236}">
                <a16:creationId xmlns:a16="http://schemas.microsoft.com/office/drawing/2014/main" id="{5DE0F910-DBEC-4E38-B42F-C3FB3A4DF053}"/>
              </a:ext>
            </a:extLst>
          </p:cNvPr>
          <p:cNvPicPr>
            <a:picLocks noChangeAspect="1"/>
          </p:cNvPicPr>
          <p:nvPr/>
        </p:nvPicPr>
        <p:blipFill>
          <a:blip r:embed="rId3"/>
          <a:stretch>
            <a:fillRect/>
          </a:stretch>
        </p:blipFill>
        <p:spPr>
          <a:xfrm>
            <a:off x="3144198" y="1116382"/>
            <a:ext cx="6914201" cy="5741618"/>
          </a:xfrm>
          <a:prstGeom prst="rect">
            <a:avLst/>
          </a:prstGeom>
        </p:spPr>
      </p:pic>
      <p:pic>
        <p:nvPicPr>
          <p:cNvPr id="3" name="Picture 2">
            <a:extLst>
              <a:ext uri="{FF2B5EF4-FFF2-40B4-BE49-F238E27FC236}">
                <a16:creationId xmlns:a16="http://schemas.microsoft.com/office/drawing/2014/main" id="{4ED23535-4174-43BC-93F1-D7CAD410CCA4}"/>
              </a:ext>
            </a:extLst>
          </p:cNvPr>
          <p:cNvPicPr>
            <a:picLocks noChangeAspect="1"/>
          </p:cNvPicPr>
          <p:nvPr/>
        </p:nvPicPr>
        <p:blipFill>
          <a:blip r:embed="rId4"/>
          <a:stretch>
            <a:fillRect/>
          </a:stretch>
        </p:blipFill>
        <p:spPr>
          <a:xfrm>
            <a:off x="1827492" y="2207514"/>
            <a:ext cx="9547611" cy="3374136"/>
          </a:xfrm>
          <a:prstGeom prst="rect">
            <a:avLst/>
          </a:prstGeom>
        </p:spPr>
      </p:pic>
    </p:spTree>
    <p:extLst>
      <p:ext uri="{BB962C8B-B14F-4D97-AF65-F5344CB8AC3E}">
        <p14:creationId xmlns:p14="http://schemas.microsoft.com/office/powerpoint/2010/main" val="2398948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par>
                                <p:cTn id="11" presetID="1" presetClass="exit" presetSubtype="0" fill="hold" nodeType="withEffect">
                                  <p:stCondLst>
                                    <p:cond delay="0"/>
                                  </p:stCondLst>
                                  <p:childTnLst>
                                    <p:set>
                                      <p:cBhvr>
                                        <p:cTn id="12" dur="1" fill="hold">
                                          <p:stCondLst>
                                            <p:cond delay="0"/>
                                          </p:stCondLst>
                                        </p:cTn>
                                        <p:tgtEl>
                                          <p:spTgt spid="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solidFill>
                  <a:schemeClr val="bg2"/>
                </a:solidFill>
              </a:rPr>
              <a:t>Adding features to improve performance</a:t>
            </a:r>
          </a:p>
        </p:txBody>
      </p:sp>
      <p:sp>
        <p:nvSpPr>
          <p:cNvPr id="6" name="Text Placeholder 5"/>
          <p:cNvSpPr>
            <a:spLocks noGrp="1"/>
          </p:cNvSpPr>
          <p:nvPr>
            <p:ph type="body" sz="quarter" idx="10"/>
          </p:nvPr>
        </p:nvSpPr>
        <p:spPr>
          <a:xfrm>
            <a:off x="269303" y="1187963"/>
            <a:ext cx="11655078" cy="971035"/>
          </a:xfrm>
        </p:spPr>
        <p:txBody>
          <a:bodyPr/>
          <a:lstStyle/>
          <a:p>
            <a:pPr fontAlgn="ctr"/>
            <a:r>
              <a:rPr lang="en-US" sz="2800" dirty="0">
                <a:solidFill>
                  <a:schemeClr val="bg2"/>
                </a:solidFill>
              </a:rPr>
              <a:t>Features help LUIS by providing hints that certain words and phrases are part of a category</a:t>
            </a:r>
          </a:p>
        </p:txBody>
      </p:sp>
      <p:pic>
        <p:nvPicPr>
          <p:cNvPr id="4" name="Picture 3">
            <a:extLst>
              <a:ext uri="{FF2B5EF4-FFF2-40B4-BE49-F238E27FC236}">
                <a16:creationId xmlns:a16="http://schemas.microsoft.com/office/drawing/2014/main" id="{1F864101-6126-4B2C-A673-1ADA30F90417}"/>
              </a:ext>
            </a:extLst>
          </p:cNvPr>
          <p:cNvPicPr>
            <a:picLocks noChangeAspect="1"/>
          </p:cNvPicPr>
          <p:nvPr/>
        </p:nvPicPr>
        <p:blipFill>
          <a:blip r:embed="rId3"/>
          <a:stretch>
            <a:fillRect/>
          </a:stretch>
        </p:blipFill>
        <p:spPr>
          <a:xfrm>
            <a:off x="3884238" y="2019629"/>
            <a:ext cx="6678452" cy="4409491"/>
          </a:xfrm>
          <a:prstGeom prst="rect">
            <a:avLst/>
          </a:prstGeom>
        </p:spPr>
      </p:pic>
      <p:sp>
        <p:nvSpPr>
          <p:cNvPr id="7" name="Rectangle 6">
            <a:extLst>
              <a:ext uri="{FF2B5EF4-FFF2-40B4-BE49-F238E27FC236}">
                <a16:creationId xmlns:a16="http://schemas.microsoft.com/office/drawing/2014/main" id="{5F567C5E-411B-44FC-A19C-55DEBB9E58D0}"/>
              </a:ext>
            </a:extLst>
          </p:cNvPr>
          <p:cNvSpPr/>
          <p:nvPr/>
        </p:nvSpPr>
        <p:spPr>
          <a:xfrm>
            <a:off x="269240" y="6289751"/>
            <a:ext cx="4880093" cy="369332"/>
          </a:xfrm>
          <a:prstGeom prst="rect">
            <a:avLst/>
          </a:prstGeom>
        </p:spPr>
        <p:txBody>
          <a:bodyPr wrap="square">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8D7"/>
                </a:solidFill>
                <a:effectLst/>
                <a:uLnTx/>
                <a:uFillTx/>
                <a:latin typeface="Segoe UI Semilight"/>
                <a:ea typeface="+mn-ea"/>
                <a:cs typeface="+mn-cs"/>
              </a:rPr>
              <a:t>Developing LUIS models</a:t>
            </a:r>
          </a:p>
        </p:txBody>
      </p:sp>
    </p:spTree>
    <p:extLst>
      <p:ext uri="{BB962C8B-B14F-4D97-AF65-F5344CB8AC3E}">
        <p14:creationId xmlns:p14="http://schemas.microsoft.com/office/powerpoint/2010/main" val="1677226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solidFill>
                  <a:schemeClr val="bg2"/>
                </a:solidFill>
              </a:rPr>
              <a:t>Adding patterns to improve performance</a:t>
            </a:r>
          </a:p>
        </p:txBody>
      </p:sp>
      <p:sp>
        <p:nvSpPr>
          <p:cNvPr id="6" name="Text Placeholder 5"/>
          <p:cNvSpPr>
            <a:spLocks noGrp="1"/>
          </p:cNvSpPr>
          <p:nvPr>
            <p:ph type="body" sz="quarter" idx="10"/>
          </p:nvPr>
        </p:nvSpPr>
        <p:spPr>
          <a:xfrm>
            <a:off x="269303" y="1187963"/>
            <a:ext cx="11655078" cy="971035"/>
          </a:xfrm>
        </p:spPr>
        <p:txBody>
          <a:bodyPr/>
          <a:lstStyle/>
          <a:p>
            <a:pPr fontAlgn="ctr"/>
            <a:r>
              <a:rPr lang="en-US" sz="2800" dirty="0">
                <a:solidFill>
                  <a:schemeClr val="bg2"/>
                </a:solidFill>
              </a:rPr>
              <a:t>Patterns are template utterances with placeholders for entities used to further improve your model</a:t>
            </a:r>
          </a:p>
        </p:txBody>
      </p:sp>
      <p:sp>
        <p:nvSpPr>
          <p:cNvPr id="8" name="Rectangle 7">
            <a:extLst>
              <a:ext uri="{FF2B5EF4-FFF2-40B4-BE49-F238E27FC236}">
                <a16:creationId xmlns:a16="http://schemas.microsoft.com/office/drawing/2014/main" id="{25462898-E01F-4003-9181-66785DCA6F74}"/>
              </a:ext>
            </a:extLst>
          </p:cNvPr>
          <p:cNvSpPr/>
          <p:nvPr/>
        </p:nvSpPr>
        <p:spPr>
          <a:xfrm>
            <a:off x="269240" y="6289751"/>
            <a:ext cx="4880093" cy="369332"/>
          </a:xfrm>
          <a:prstGeom prst="rect">
            <a:avLst/>
          </a:prstGeom>
        </p:spPr>
        <p:txBody>
          <a:bodyPr wrap="square">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8D7"/>
                </a:solidFill>
                <a:effectLst/>
                <a:uLnTx/>
                <a:uFillTx/>
                <a:latin typeface="Segoe UI Semilight"/>
                <a:ea typeface="+mn-ea"/>
                <a:cs typeface="+mn-cs"/>
              </a:rPr>
              <a:t>Developing LUIS models</a:t>
            </a:r>
          </a:p>
        </p:txBody>
      </p:sp>
      <p:pic>
        <p:nvPicPr>
          <p:cNvPr id="4" name="Picture 3" descr="A screenshot of a cell phone&#10;&#10;Description generated with very high confidence">
            <a:extLst>
              <a:ext uri="{FF2B5EF4-FFF2-40B4-BE49-F238E27FC236}">
                <a16:creationId xmlns:a16="http://schemas.microsoft.com/office/drawing/2014/main" id="{265DFF4F-D9F9-45AF-A452-59C19603B49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2187850"/>
            <a:ext cx="12192000" cy="2417518"/>
          </a:xfrm>
          <a:prstGeom prst="rect">
            <a:avLst/>
          </a:prstGeom>
        </p:spPr>
      </p:pic>
    </p:spTree>
    <p:extLst>
      <p:ext uri="{BB962C8B-B14F-4D97-AF65-F5344CB8AC3E}">
        <p14:creationId xmlns:p14="http://schemas.microsoft.com/office/powerpoint/2010/main" val="3510628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solidFill>
                  <a:schemeClr val="bg2"/>
                </a:solidFill>
              </a:rPr>
              <a:t>Using active learning</a:t>
            </a:r>
          </a:p>
        </p:txBody>
      </p:sp>
      <p:sp>
        <p:nvSpPr>
          <p:cNvPr id="6" name="Text Placeholder 5"/>
          <p:cNvSpPr>
            <a:spLocks noGrp="1"/>
          </p:cNvSpPr>
          <p:nvPr>
            <p:ph type="body" sz="quarter" idx="10"/>
          </p:nvPr>
        </p:nvSpPr>
        <p:spPr>
          <a:xfrm>
            <a:off x="269303" y="1187963"/>
            <a:ext cx="11655078" cy="583237"/>
          </a:xfrm>
        </p:spPr>
        <p:txBody>
          <a:bodyPr/>
          <a:lstStyle/>
          <a:p>
            <a:pPr marL="0" indent="0" fontAlgn="ctr">
              <a:buNone/>
            </a:pPr>
            <a:endParaRPr lang="en-US" sz="2800" dirty="0">
              <a:solidFill>
                <a:schemeClr val="bg2"/>
              </a:solidFill>
            </a:endParaRPr>
          </a:p>
        </p:txBody>
      </p:sp>
      <p:pic>
        <p:nvPicPr>
          <p:cNvPr id="3" name="Picture 2" descr="A picture containing object&#10;&#10;Description generated with high confidence">
            <a:extLst>
              <a:ext uri="{FF2B5EF4-FFF2-40B4-BE49-F238E27FC236}">
                <a16:creationId xmlns:a16="http://schemas.microsoft.com/office/drawing/2014/main" id="{F71ED0CA-708C-4213-BA7D-1DB2EBA992E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0173" y="1847701"/>
            <a:ext cx="3737489" cy="3591580"/>
          </a:xfrm>
          <a:prstGeom prst="rect">
            <a:avLst/>
          </a:prstGeom>
        </p:spPr>
      </p:pic>
      <p:pic>
        <p:nvPicPr>
          <p:cNvPr id="5" name="Picture 4" descr="A screenshot of a computer screen&#10;&#10;Description generated with very high confidence">
            <a:extLst>
              <a:ext uri="{FF2B5EF4-FFF2-40B4-BE49-F238E27FC236}">
                <a16:creationId xmlns:a16="http://schemas.microsoft.com/office/drawing/2014/main" id="{54E8C123-F985-4135-86AB-853D74451E1B}"/>
              </a:ext>
            </a:extLst>
          </p:cNvPr>
          <p:cNvPicPr>
            <a:picLocks noChangeAspect="1"/>
          </p:cNvPicPr>
          <p:nvPr/>
        </p:nvPicPr>
        <p:blipFill rotWithShape="1">
          <a:blip r:embed="rId4">
            <a:extLst>
              <a:ext uri="{28A0092B-C50C-407E-A947-70E740481C1C}">
                <a14:useLocalDpi xmlns:a14="http://schemas.microsoft.com/office/drawing/2010/main" val="0"/>
              </a:ext>
            </a:extLst>
          </a:blip>
          <a:srcRect l="19294" r="893"/>
          <a:stretch/>
        </p:blipFill>
        <p:spPr>
          <a:xfrm>
            <a:off x="4512819" y="1479581"/>
            <a:ext cx="7315200" cy="4327821"/>
          </a:xfrm>
          <a:prstGeom prst="rect">
            <a:avLst/>
          </a:prstGeom>
        </p:spPr>
      </p:pic>
      <p:sp>
        <p:nvSpPr>
          <p:cNvPr id="8" name="Rectangle 7">
            <a:extLst>
              <a:ext uri="{FF2B5EF4-FFF2-40B4-BE49-F238E27FC236}">
                <a16:creationId xmlns:a16="http://schemas.microsoft.com/office/drawing/2014/main" id="{25462898-E01F-4003-9181-66785DCA6F74}"/>
              </a:ext>
            </a:extLst>
          </p:cNvPr>
          <p:cNvSpPr/>
          <p:nvPr/>
        </p:nvSpPr>
        <p:spPr>
          <a:xfrm>
            <a:off x="269240" y="6289751"/>
            <a:ext cx="4880093" cy="369332"/>
          </a:xfrm>
          <a:prstGeom prst="rect">
            <a:avLst/>
          </a:prstGeom>
        </p:spPr>
        <p:txBody>
          <a:bodyPr wrap="square">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8D7"/>
                </a:solidFill>
                <a:effectLst/>
                <a:uLnTx/>
                <a:uFillTx/>
                <a:latin typeface="Segoe UI Semilight"/>
                <a:ea typeface="+mn-ea"/>
                <a:cs typeface="+mn-cs"/>
              </a:rPr>
              <a:t>Developing LUIS models</a:t>
            </a:r>
          </a:p>
        </p:txBody>
      </p:sp>
    </p:spTree>
    <p:extLst>
      <p:ext uri="{BB962C8B-B14F-4D97-AF65-F5344CB8AC3E}">
        <p14:creationId xmlns:p14="http://schemas.microsoft.com/office/powerpoint/2010/main" val="1672352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7531" y="1767006"/>
            <a:ext cx="11096938" cy="5761577"/>
          </a:xfrm>
        </p:spPr>
        <p:txBody>
          <a:bodyPr/>
          <a:lstStyle/>
          <a:p>
            <a:br>
              <a:rPr lang="en-US" sz="4000" dirty="0">
                <a:latin typeface="Segoe UI Semilight" panose="020B0402040204020203" pitchFamily="34" charset="0"/>
                <a:cs typeface="Segoe UI Semilight" panose="020B0402040204020203" pitchFamily="34" charset="0"/>
              </a:rPr>
            </a:br>
            <a:r>
              <a:rPr lang="en-US" sz="4000" dirty="0">
                <a:latin typeface="Segoe UI Semilight" panose="020B0402040204020203" pitchFamily="34" charset="0"/>
                <a:cs typeface="Segoe UI Semilight" panose="020B0402040204020203" pitchFamily="34" charset="0"/>
              </a:rPr>
              <a:t>9-9:45AM</a:t>
            </a:r>
            <a:br>
              <a:rPr lang="en-US" sz="4400" dirty="0">
                <a:latin typeface="Segoe UI Semilight" panose="020B0402040204020203" pitchFamily="34" charset="0"/>
                <a:cs typeface="Segoe UI Semilight" panose="020B0402040204020203" pitchFamily="34" charset="0"/>
              </a:rPr>
            </a:br>
            <a:br>
              <a:rPr lang="en-US" sz="4400" dirty="0">
                <a:latin typeface="Segoe UI Semilight" panose="020B0402040204020203" pitchFamily="34" charset="0"/>
                <a:cs typeface="Segoe UI Semilight" panose="020B0402040204020203" pitchFamily="34" charset="0"/>
                <a:hlinkClick r:id="rId3"/>
              </a:rPr>
            </a:br>
            <a:r>
              <a:rPr lang="en-US" sz="4400" dirty="0">
                <a:latin typeface="Segoe UI Semilight" panose="020B0402040204020203" pitchFamily="34" charset="0"/>
                <a:cs typeface="Segoe UI Semilight" panose="020B0402040204020203" pitchFamily="34" charset="0"/>
                <a:hlinkClick r:id="rId3"/>
              </a:rPr>
              <a:t>https://github.com/Azure/LearnAI-Airlift</a:t>
            </a:r>
            <a:br>
              <a:rPr lang="en-US" sz="4400" dirty="0">
                <a:latin typeface="Segoe UI Semilight" panose="020B0402040204020203" pitchFamily="34" charset="0"/>
                <a:cs typeface="Segoe UI Semilight" panose="020B0402040204020203" pitchFamily="34" charset="0"/>
              </a:rPr>
            </a:br>
            <a:br>
              <a:rPr lang="en-US" sz="4400" dirty="0">
                <a:latin typeface="Segoe UI Semilight" panose="020B0402040204020203" pitchFamily="34" charset="0"/>
                <a:cs typeface="Segoe UI Semilight" panose="020B0402040204020203" pitchFamily="34" charset="0"/>
              </a:rPr>
            </a:br>
            <a:br>
              <a:rPr lang="en-US" sz="4400" dirty="0">
                <a:latin typeface="Segoe UI Semilight" panose="020B0402040204020203" pitchFamily="34" charset="0"/>
                <a:cs typeface="Segoe UI Semilight" panose="020B0402040204020203" pitchFamily="34" charset="0"/>
              </a:rPr>
            </a:br>
            <a:r>
              <a:rPr lang="en-US" sz="4400" dirty="0">
                <a:latin typeface="Segoe UI Semilight" panose="020B0402040204020203" pitchFamily="34" charset="0"/>
                <a:cs typeface="Segoe UI Semilight" panose="020B0402040204020203" pitchFamily="34" charset="0"/>
              </a:rPr>
              <a:t>and check out my blog if you finish early </a:t>
            </a:r>
            <a:r>
              <a:rPr lang="en-US" sz="4400" dirty="0">
                <a:latin typeface="Segoe UI Semilight" panose="020B0402040204020203" pitchFamily="34" charset="0"/>
                <a:cs typeface="Segoe UI Semilight" panose="020B0402040204020203" pitchFamily="34" charset="0"/>
                <a:sym typeface="Wingdings" panose="05000000000000000000" pitchFamily="2" charset="2"/>
              </a:rPr>
              <a:t> </a:t>
            </a:r>
            <a:br>
              <a:rPr lang="en-US" sz="4400" dirty="0">
                <a:latin typeface="Segoe UI Semilight" panose="020B0402040204020203" pitchFamily="34" charset="0"/>
                <a:cs typeface="Segoe UI Semilight" panose="020B0402040204020203" pitchFamily="34" charset="0"/>
                <a:sym typeface="Wingdings" panose="05000000000000000000" pitchFamily="2" charset="2"/>
              </a:rPr>
            </a:br>
            <a:r>
              <a:rPr lang="en-US" sz="4400" dirty="0">
                <a:latin typeface="Segoe UI Semilight" panose="020B0402040204020203" pitchFamily="34" charset="0"/>
                <a:cs typeface="Segoe UI Semilight" panose="020B0402040204020203" pitchFamily="34" charset="0"/>
                <a:sym typeface="Wingdings" panose="05000000000000000000" pitchFamily="2" charset="2"/>
                <a:hlinkClick r:id="rId4"/>
              </a:rPr>
              <a:t>https://aka.ms/luis-notes</a:t>
            </a:r>
            <a:r>
              <a:rPr lang="en-US" sz="4400" dirty="0">
                <a:latin typeface="Segoe UI Semilight" panose="020B0402040204020203" pitchFamily="34" charset="0"/>
                <a:cs typeface="Segoe UI Semilight" panose="020B0402040204020203" pitchFamily="34" charset="0"/>
                <a:sym typeface="Wingdings" panose="05000000000000000000" pitchFamily="2" charset="2"/>
              </a:rPr>
              <a:t> </a:t>
            </a:r>
            <a:br>
              <a:rPr lang="en-US" dirty="0">
                <a:latin typeface="Segoe UI Semilight" panose="020B0402040204020203" pitchFamily="34" charset="0"/>
                <a:cs typeface="Segoe UI Semilight" panose="020B0402040204020203" pitchFamily="34" charset="0"/>
              </a:rPr>
            </a:br>
            <a:br>
              <a:rPr lang="en-US" dirty="0">
                <a:latin typeface="Segoe UI Semilight" panose="020B0402040204020203" pitchFamily="34" charset="0"/>
                <a:cs typeface="Segoe UI Semilight" panose="020B0402040204020203" pitchFamily="34" charset="0"/>
              </a:rPr>
            </a:br>
            <a:endParaRPr lang="en-US" dirty="0">
              <a:solidFill>
                <a:srgbClr val="FFFF00"/>
              </a:solidFill>
              <a:latin typeface="Segoe UI Semilight" panose="020B0402040204020203" pitchFamily="34" charset="0"/>
              <a:cs typeface="Segoe UI Semilight" panose="020B0402040204020203" pitchFamily="34" charset="0"/>
            </a:endParaRPr>
          </a:p>
        </p:txBody>
      </p:sp>
      <p:sp>
        <p:nvSpPr>
          <p:cNvPr id="5" name="Title 16">
            <a:extLst>
              <a:ext uri="{FF2B5EF4-FFF2-40B4-BE49-F238E27FC236}">
                <a16:creationId xmlns:a16="http://schemas.microsoft.com/office/drawing/2014/main" id="{A59EA4C2-7E62-4580-BA01-BB9139C36ED9}"/>
              </a:ext>
            </a:extLst>
          </p:cNvPr>
          <p:cNvSpPr txBox="1">
            <a:spLocks/>
          </p:cNvSpPr>
          <p:nvPr/>
        </p:nvSpPr>
        <p:spPr>
          <a:xfrm>
            <a:off x="269240" y="289512"/>
            <a:ext cx="11655840" cy="899665"/>
          </a:xfrm>
          <a:prstGeom prst="rect">
            <a:avLst/>
          </a:prstGeom>
        </p:spPr>
        <p:txBody>
          <a:bodyPr vert="horz" wrap="square" lIns="146304" tIns="91440" rIns="146304" bIns="91440" rtlCol="0" anchor="t">
            <a:noAutofit/>
          </a:bodyPr>
          <a:lstStyle>
            <a:lvl1pPr algn="l" defTabSz="914192" rtl="0" eaLnBrk="1" latinLnBrk="0" hangingPunct="1">
              <a:lnSpc>
                <a:spcPct val="90000"/>
              </a:lnSpc>
              <a:spcBef>
                <a:spcPct val="0"/>
              </a:spcBef>
              <a:buNone/>
              <a:defRPr lang="en-US" sz="4117" b="0" kern="1200" cap="none" spc="-100" baseline="0" dirty="0" smtClean="0">
                <a:ln w="3175">
                  <a:noFill/>
                </a:ln>
                <a:solidFill>
                  <a:schemeClr val="tx1"/>
                </a:soli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100" normalizeH="0" baseline="0" noProof="0" dirty="0">
                <a:ln w="3175">
                  <a:noFill/>
                </a:ln>
                <a:solidFill>
                  <a:srgbClr val="FFFFFF"/>
                </a:solidFill>
                <a:effectLst/>
                <a:uLnTx/>
                <a:uFillTx/>
                <a:latin typeface="Segoe UI Light"/>
                <a:ea typeface="+mn-ea"/>
                <a:cs typeface="Segoe UI" pitchFamily="34" charset="0"/>
              </a:rPr>
              <a:t>Lab 5: LUIS</a:t>
            </a:r>
          </a:p>
          <a:p>
            <a:pPr marL="0" marR="0" lvl="0" indent="0" algn="l" defTabSz="914192" rtl="0" eaLnBrk="1" fontAlgn="auto" latinLnBrk="0" hangingPunct="1">
              <a:lnSpc>
                <a:spcPct val="90000"/>
              </a:lnSpc>
              <a:spcBef>
                <a:spcPct val="0"/>
              </a:spcBef>
              <a:spcAft>
                <a:spcPts val="0"/>
              </a:spcAft>
              <a:buClrTx/>
              <a:buSzTx/>
              <a:buFontTx/>
              <a:buNone/>
              <a:tabLst/>
              <a:defRPr/>
            </a:pPr>
            <a:endParaRPr kumimoji="0" lang="en-US" sz="4400" b="0" i="0" u="none" strike="noStrike" kern="1200" cap="none" spc="-100" normalizeH="0" baseline="0" noProof="0" dirty="0">
              <a:ln w="3175">
                <a:noFill/>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1897394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2828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show="0">
  <p:cSld>
    <p:bg>
      <p:bgPr>
        <a:solidFill>
          <a:srgbClr val="7030A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84200" y="3033713"/>
            <a:ext cx="9144000" cy="498598"/>
          </a:xfrm>
        </p:spPr>
        <p:txBody>
          <a:bodyPr/>
          <a:lstStyle/>
          <a:p>
            <a:r>
              <a:rPr lang="en-US" dirty="0"/>
              <a:t>8:30-9:45 LUIS</a:t>
            </a:r>
          </a:p>
        </p:txBody>
      </p:sp>
    </p:spTree>
    <p:extLst>
      <p:ext uri="{BB962C8B-B14F-4D97-AF65-F5344CB8AC3E}">
        <p14:creationId xmlns:p14="http://schemas.microsoft.com/office/powerpoint/2010/main" val="645293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C1DBFB7-6335-4A99-8E09-537280AAE890}"/>
              </a:ext>
            </a:extLst>
          </p:cNvPr>
          <p:cNvSpPr/>
          <p:nvPr/>
        </p:nvSpPr>
        <p:spPr>
          <a:xfrm>
            <a:off x="266920" y="788110"/>
            <a:ext cx="11785385" cy="6247864"/>
          </a:xfrm>
          <a:prstGeom prst="rect">
            <a:avLst/>
          </a:prstGeom>
        </p:spPr>
        <p:txBody>
          <a:bodyPr wrap="square" numCol="3">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434343"/>
                </a:solidFill>
                <a:effectLst/>
                <a:uLnTx/>
                <a:uFillTx/>
                <a:latin typeface="-apple-system"/>
                <a:ea typeface="+mn-ea"/>
                <a:cs typeface="+mn-cs"/>
              </a:rPr>
              <a:t>Day 1: Cognitive Services</a:t>
            </a: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34343"/>
                </a:solidFill>
                <a:effectLst/>
                <a:uLnTx/>
                <a:uFillTx/>
                <a:latin typeface="-apple-system"/>
                <a:ea typeface="+mn-ea"/>
                <a:cs typeface="+mn-cs"/>
              </a:rPr>
              <a:t>8:30-9:15: </a:t>
            </a:r>
            <a:r>
              <a:rPr kumimoji="0" lang="en-US" sz="2000" b="0" i="0" u="none" strike="noStrike" kern="1200" cap="none" spc="0" normalizeH="0" baseline="0" noProof="0" dirty="0">
                <a:ln>
                  <a:noFill/>
                </a:ln>
                <a:solidFill>
                  <a:srgbClr val="434343"/>
                </a:solidFill>
                <a:effectLst/>
                <a:uLnTx/>
                <a:uFillTx/>
                <a:latin typeface="-apple-system"/>
                <a:ea typeface="+mn-ea"/>
                <a:cs typeface="+mn-cs"/>
                <a:hlinkClick r:id="rId3">
                  <a:extLst>
                    <a:ext uri="{A12FA001-AC4F-418D-AE19-62706E023703}">
                      <ahyp:hlinkClr xmlns:ahyp="http://schemas.microsoft.com/office/drawing/2018/hyperlinkcolor" val="tx"/>
                    </a:ext>
                  </a:extLst>
                </a:hlinkClick>
              </a:rPr>
              <a:t>Setup</a:t>
            </a:r>
            <a:endParaRPr kumimoji="0" lang="en-US" sz="2000" b="0" i="0" u="none" strike="noStrike" kern="1200" cap="none" spc="0" normalizeH="0" baseline="0" noProof="0" dirty="0">
              <a:ln>
                <a:noFill/>
              </a:ln>
              <a:solidFill>
                <a:srgbClr val="434343"/>
              </a:solidFill>
              <a:effectLst/>
              <a:uLnTx/>
              <a:uFillTx/>
              <a:latin typeface="-apple-system"/>
              <a:ea typeface="+mn-ea"/>
              <a:cs typeface="+mn-cs"/>
            </a:endParaRP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34343"/>
                </a:solidFill>
                <a:effectLst/>
                <a:uLnTx/>
                <a:uFillTx/>
                <a:latin typeface="-apple-system"/>
                <a:ea typeface="+mn-ea"/>
                <a:cs typeface="+mn-cs"/>
              </a:rPr>
              <a:t>9:15-10: </a:t>
            </a:r>
            <a:r>
              <a:rPr kumimoji="0" lang="en-US" sz="2000" b="0" i="0" u="none" strike="noStrike" kern="1200" cap="none" spc="0" normalizeH="0" baseline="0" noProof="0" dirty="0">
                <a:ln>
                  <a:noFill/>
                </a:ln>
                <a:solidFill>
                  <a:srgbClr val="434343"/>
                </a:solidFill>
                <a:effectLst/>
                <a:uLnTx/>
                <a:uFillTx/>
                <a:latin typeface="-apple-system"/>
                <a:ea typeface="+mn-ea"/>
                <a:cs typeface="+mn-cs"/>
                <a:hlinkClick r:id="rId4">
                  <a:extLst>
                    <a:ext uri="{A12FA001-AC4F-418D-AE19-62706E023703}">
                      <ahyp:hlinkClr xmlns:ahyp="http://schemas.microsoft.com/office/drawing/2018/hyperlinkcolor" val="tx"/>
                    </a:ext>
                  </a:extLst>
                </a:hlinkClick>
              </a:rPr>
              <a:t>Cognitive Services</a:t>
            </a:r>
            <a:r>
              <a:rPr kumimoji="0" lang="en-US" sz="2000" b="0" i="0" u="none" strike="noStrike" kern="1200" cap="none" spc="0" normalizeH="0" baseline="0" noProof="0" dirty="0">
                <a:ln>
                  <a:noFill/>
                </a:ln>
                <a:solidFill>
                  <a:srgbClr val="434343"/>
                </a:solidFill>
                <a:effectLst/>
                <a:uLnTx/>
                <a:uFillTx/>
                <a:latin typeface="-apple-system"/>
                <a:ea typeface="+mn-ea"/>
                <a:cs typeface="+mn-cs"/>
              </a:rPr>
              <a:t> and </a:t>
            </a:r>
            <a:r>
              <a:rPr kumimoji="0" lang="en-US" sz="2000" b="0" i="0" u="none" strike="noStrike" kern="1200" cap="none" spc="0" normalizeH="0" baseline="0" noProof="0" dirty="0">
                <a:ln>
                  <a:noFill/>
                </a:ln>
                <a:solidFill>
                  <a:srgbClr val="434343"/>
                </a:solidFill>
                <a:effectLst/>
                <a:uLnTx/>
                <a:uFillTx/>
                <a:latin typeface="-apple-system"/>
                <a:ea typeface="+mn-ea"/>
                <a:cs typeface="+mn-cs"/>
                <a:hlinkClick r:id="rId5">
                  <a:extLst>
                    <a:ext uri="{A12FA001-AC4F-418D-AE19-62706E023703}">
                      <ahyp:hlinkClr xmlns:ahyp="http://schemas.microsoft.com/office/drawing/2018/hyperlinkcolor" val="tx"/>
                    </a:ext>
                  </a:extLst>
                </a:hlinkClick>
              </a:rPr>
              <a:t>PictureBot Introduction</a:t>
            </a:r>
            <a:endParaRPr kumimoji="0" lang="en-US" sz="2000" b="0" i="0" u="none" strike="noStrike" kern="1200" cap="none" spc="0" normalizeH="0" baseline="0" noProof="0" dirty="0">
              <a:ln>
                <a:noFill/>
              </a:ln>
              <a:solidFill>
                <a:srgbClr val="434343"/>
              </a:solidFill>
              <a:effectLst/>
              <a:uLnTx/>
              <a:uFillTx/>
              <a:latin typeface="-apple-system"/>
              <a:ea typeface="+mn-ea"/>
              <a:cs typeface="+mn-cs"/>
            </a:endParaRP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34343"/>
                </a:solidFill>
                <a:effectLst/>
                <a:uLnTx/>
                <a:uFillTx/>
                <a:latin typeface="-apple-system"/>
                <a:ea typeface="+mn-ea"/>
                <a:cs typeface="+mn-cs"/>
              </a:rPr>
              <a:t>10-12: </a:t>
            </a:r>
            <a:r>
              <a:rPr kumimoji="0" lang="en-US" sz="2000" b="1" i="0" u="none" strike="noStrike" kern="1200" cap="none" spc="0" normalizeH="0" baseline="0" noProof="0" dirty="0">
                <a:ln>
                  <a:noFill/>
                </a:ln>
                <a:solidFill>
                  <a:srgbClr val="434343"/>
                </a:solidFill>
                <a:effectLst/>
                <a:uLnTx/>
                <a:uFillTx/>
                <a:latin typeface="-apple-system"/>
                <a:ea typeface="+mn-ea"/>
                <a:cs typeface="+mn-cs"/>
                <a:hlinkClick r:id="rId5">
                  <a:extLst>
                    <a:ext uri="{A12FA001-AC4F-418D-AE19-62706E023703}">
                      <ahyp:hlinkClr xmlns:ahyp="http://schemas.microsoft.com/office/drawing/2018/hyperlinkcolor" val="tx"/>
                    </a:ext>
                  </a:extLst>
                </a:hlinkClick>
              </a:rPr>
              <a:t>Lab 1</a:t>
            </a:r>
            <a:r>
              <a:rPr kumimoji="0" lang="en-US" sz="2000" b="0" i="0" u="none" strike="noStrike" kern="1200" cap="none" spc="0" normalizeH="0" baseline="0" noProof="0" dirty="0">
                <a:ln>
                  <a:noFill/>
                </a:ln>
                <a:solidFill>
                  <a:srgbClr val="434343"/>
                </a:solidFill>
                <a:effectLst/>
                <a:uLnTx/>
                <a:uFillTx/>
                <a:latin typeface="-apple-system"/>
                <a:ea typeface="+mn-ea"/>
                <a:cs typeface="+mn-cs"/>
                <a:hlinkClick r:id="rId5">
                  <a:extLst>
                    <a:ext uri="{A12FA001-AC4F-418D-AE19-62706E023703}">
                      <ahyp:hlinkClr xmlns:ahyp="http://schemas.microsoft.com/office/drawing/2018/hyperlinkcolor" val="tx"/>
                    </a:ext>
                  </a:extLst>
                </a:hlinkClick>
              </a:rPr>
              <a:t>: Computer Vision</a:t>
            </a:r>
            <a:endParaRPr kumimoji="0" lang="en-US" sz="2000" b="0" i="0" u="none" strike="noStrike" kern="1200" cap="none" spc="0" normalizeH="0" baseline="0" noProof="0" dirty="0">
              <a:ln>
                <a:noFill/>
              </a:ln>
              <a:solidFill>
                <a:srgbClr val="434343"/>
              </a:solidFill>
              <a:effectLst/>
              <a:uLnTx/>
              <a:uFillTx/>
              <a:latin typeface="-apple-system"/>
              <a:ea typeface="+mn-ea"/>
              <a:cs typeface="+mn-cs"/>
            </a:endParaRP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34343"/>
                </a:solidFill>
                <a:effectLst/>
                <a:uLnTx/>
                <a:uFillTx/>
                <a:latin typeface="-apple-system"/>
                <a:ea typeface="+mn-ea"/>
                <a:cs typeface="+mn-cs"/>
              </a:rPr>
              <a:t>12-1: Lunch</a:t>
            </a: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34343"/>
                </a:solidFill>
                <a:effectLst/>
                <a:uLnTx/>
                <a:uFillTx/>
                <a:latin typeface="-apple-system"/>
                <a:ea typeface="+mn-ea"/>
                <a:cs typeface="+mn-cs"/>
              </a:rPr>
              <a:t>1-1:30: Custom Vision Service Introduction</a:t>
            </a: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34343"/>
                </a:solidFill>
                <a:effectLst/>
                <a:uLnTx/>
                <a:uFillTx/>
                <a:latin typeface="-apple-system"/>
                <a:ea typeface="+mn-ea"/>
                <a:cs typeface="+mn-cs"/>
              </a:rPr>
              <a:t>1:30-2: </a:t>
            </a:r>
            <a:r>
              <a:rPr kumimoji="0" lang="en-US" sz="2000" b="1" i="0" u="none" strike="noStrike" kern="1200" cap="none" spc="0" normalizeH="0" baseline="0" noProof="0" dirty="0">
                <a:ln>
                  <a:noFill/>
                </a:ln>
                <a:solidFill>
                  <a:srgbClr val="434343"/>
                </a:solidFill>
                <a:effectLst/>
                <a:uLnTx/>
                <a:uFillTx/>
                <a:latin typeface="-apple-system"/>
                <a:ea typeface="+mn-ea"/>
                <a:cs typeface="+mn-cs"/>
                <a:hlinkClick r:id="rId6">
                  <a:extLst>
                    <a:ext uri="{A12FA001-AC4F-418D-AE19-62706E023703}">
                      <ahyp:hlinkClr xmlns:ahyp="http://schemas.microsoft.com/office/drawing/2018/hyperlinkcolor" val="tx"/>
                    </a:ext>
                  </a:extLst>
                </a:hlinkClick>
              </a:rPr>
              <a:t>Lab 2</a:t>
            </a:r>
            <a:r>
              <a:rPr kumimoji="0" lang="en-US" sz="2000" b="0" i="0" u="none" strike="noStrike" kern="1200" cap="none" spc="0" normalizeH="0" baseline="0" noProof="0" dirty="0">
                <a:ln>
                  <a:noFill/>
                </a:ln>
                <a:solidFill>
                  <a:srgbClr val="434343"/>
                </a:solidFill>
                <a:effectLst/>
                <a:uLnTx/>
                <a:uFillTx/>
                <a:latin typeface="-apple-system"/>
                <a:ea typeface="+mn-ea"/>
                <a:cs typeface="+mn-cs"/>
                <a:hlinkClick r:id="rId6">
                  <a:extLst>
                    <a:ext uri="{A12FA001-AC4F-418D-AE19-62706E023703}">
                      <ahyp:hlinkClr xmlns:ahyp="http://schemas.microsoft.com/office/drawing/2018/hyperlinkcolor" val="tx"/>
                    </a:ext>
                  </a:extLst>
                </a:hlinkClick>
              </a:rPr>
              <a:t>: Custom Vision Service I: Image Classification</a:t>
            </a:r>
            <a:endParaRPr kumimoji="0" lang="en-US" sz="2000" b="0" i="0" u="none" strike="noStrike" kern="1200" cap="none" spc="0" normalizeH="0" baseline="0" noProof="0" dirty="0">
              <a:ln>
                <a:noFill/>
              </a:ln>
              <a:solidFill>
                <a:srgbClr val="434343"/>
              </a:solidFill>
              <a:effectLst/>
              <a:uLnTx/>
              <a:uFillTx/>
              <a:latin typeface="-apple-system"/>
              <a:ea typeface="+mn-ea"/>
              <a:cs typeface="+mn-cs"/>
            </a:endParaRP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34343"/>
                </a:solidFill>
                <a:effectLst/>
                <a:uLnTx/>
                <a:uFillTx/>
                <a:latin typeface="-apple-system"/>
                <a:ea typeface="+mn-ea"/>
                <a:cs typeface="+mn-cs"/>
              </a:rPr>
              <a:t>2-2:30: </a:t>
            </a:r>
            <a:r>
              <a:rPr kumimoji="0" lang="en-US" sz="2000" b="1" i="0" u="none" strike="noStrike" kern="1200" cap="none" spc="0" normalizeH="0" baseline="0" noProof="0" dirty="0">
                <a:ln>
                  <a:noFill/>
                </a:ln>
                <a:solidFill>
                  <a:srgbClr val="434343"/>
                </a:solidFill>
                <a:effectLst/>
                <a:uLnTx/>
                <a:uFillTx/>
                <a:latin typeface="-apple-system"/>
                <a:ea typeface="+mn-ea"/>
                <a:cs typeface="+mn-cs"/>
                <a:hlinkClick r:id="rId7">
                  <a:extLst>
                    <a:ext uri="{A12FA001-AC4F-418D-AE19-62706E023703}">
                      <ahyp:hlinkClr xmlns:ahyp="http://schemas.microsoft.com/office/drawing/2018/hyperlinkcolor" val="tx"/>
                    </a:ext>
                  </a:extLst>
                </a:hlinkClick>
              </a:rPr>
              <a:t>Lab 3</a:t>
            </a:r>
            <a:r>
              <a:rPr kumimoji="0" lang="en-US" sz="2000" b="0" i="0" u="none" strike="noStrike" kern="1200" cap="none" spc="0" normalizeH="0" baseline="0" noProof="0" dirty="0">
                <a:ln>
                  <a:noFill/>
                </a:ln>
                <a:solidFill>
                  <a:srgbClr val="434343"/>
                </a:solidFill>
                <a:effectLst/>
                <a:uLnTx/>
                <a:uFillTx/>
                <a:latin typeface="-apple-system"/>
                <a:ea typeface="+mn-ea"/>
                <a:cs typeface="+mn-cs"/>
                <a:hlinkClick r:id="rId7">
                  <a:extLst>
                    <a:ext uri="{A12FA001-AC4F-418D-AE19-62706E023703}">
                      <ahyp:hlinkClr xmlns:ahyp="http://schemas.microsoft.com/office/drawing/2018/hyperlinkcolor" val="tx"/>
                    </a:ext>
                  </a:extLst>
                </a:hlinkClick>
              </a:rPr>
              <a:t>: Custom Vision Service II: Object Detection</a:t>
            </a:r>
            <a:endParaRPr kumimoji="0" lang="en-US" sz="2000" b="0" i="0" u="none" strike="noStrike" kern="1200" cap="none" spc="0" normalizeH="0" baseline="0" noProof="0" dirty="0">
              <a:ln>
                <a:noFill/>
              </a:ln>
              <a:solidFill>
                <a:srgbClr val="434343"/>
              </a:solidFill>
              <a:effectLst/>
              <a:uLnTx/>
              <a:uFillTx/>
              <a:latin typeface="-apple-system"/>
              <a:ea typeface="+mn-ea"/>
              <a:cs typeface="+mn-cs"/>
            </a:endParaRP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34343"/>
                </a:solidFill>
                <a:effectLst/>
                <a:uLnTx/>
                <a:uFillTx/>
                <a:latin typeface="-apple-system"/>
                <a:ea typeface="+mn-ea"/>
                <a:cs typeface="+mn-cs"/>
              </a:rPr>
              <a:t>2:30-3:45:</a:t>
            </a:r>
            <a:r>
              <a:rPr kumimoji="0" lang="en-US" sz="2000" b="1" i="0" u="none" strike="noStrike" kern="1200" cap="none" spc="0" normalizeH="0" baseline="0" noProof="0" dirty="0">
                <a:ln>
                  <a:noFill/>
                </a:ln>
                <a:solidFill>
                  <a:srgbClr val="434343"/>
                </a:solidFill>
                <a:effectLst/>
                <a:uLnTx/>
                <a:uFillTx/>
                <a:latin typeface="-apple-system"/>
                <a:ea typeface="+mn-ea"/>
                <a:cs typeface="+mn-cs"/>
              </a:rPr>
              <a:t> </a:t>
            </a:r>
            <a:r>
              <a:rPr kumimoji="0" lang="en-US" sz="2000" b="1" i="0" u="none" strike="noStrike" kern="1200" cap="none" spc="0" normalizeH="0" baseline="0" noProof="0" dirty="0">
                <a:ln>
                  <a:noFill/>
                </a:ln>
                <a:solidFill>
                  <a:srgbClr val="434343"/>
                </a:solidFill>
                <a:effectLst/>
                <a:uLnTx/>
                <a:uFillTx/>
                <a:latin typeface="-apple-system"/>
                <a:ea typeface="+mn-ea"/>
                <a:cs typeface="+mn-cs"/>
                <a:hlinkClick r:id="rId8">
                  <a:extLst>
                    <a:ext uri="{A12FA001-AC4F-418D-AE19-62706E023703}">
                      <ahyp:hlinkClr xmlns:ahyp="http://schemas.microsoft.com/office/drawing/2018/hyperlinkcolor" val="tx"/>
                    </a:ext>
                  </a:extLst>
                </a:hlinkClick>
              </a:rPr>
              <a:t>Lab 4</a:t>
            </a:r>
            <a:r>
              <a:rPr kumimoji="0" lang="en-US" sz="2000" b="0" i="0" u="none" strike="noStrike" kern="1200" cap="none" spc="0" normalizeH="0" baseline="0" noProof="0" dirty="0">
                <a:ln>
                  <a:noFill/>
                </a:ln>
                <a:solidFill>
                  <a:srgbClr val="434343"/>
                </a:solidFill>
                <a:effectLst/>
                <a:uLnTx/>
                <a:uFillTx/>
                <a:latin typeface="-apple-system"/>
                <a:ea typeface="+mn-ea"/>
                <a:cs typeface="+mn-cs"/>
                <a:hlinkClick r:id="rId8">
                  <a:extLst>
                    <a:ext uri="{A12FA001-AC4F-418D-AE19-62706E023703}">
                      <ahyp:hlinkClr xmlns:ahyp="http://schemas.microsoft.com/office/drawing/2018/hyperlinkcolor" val="tx"/>
                    </a:ext>
                  </a:extLst>
                </a:hlinkClick>
              </a:rPr>
              <a:t>: Azure Search</a:t>
            </a:r>
            <a:endParaRPr kumimoji="0" lang="en-US" sz="2000" b="0" i="0" u="none" strike="noStrike" kern="1200" cap="none" spc="0" normalizeH="0" baseline="0" noProof="0" dirty="0">
              <a:ln>
                <a:noFill/>
              </a:ln>
              <a:solidFill>
                <a:srgbClr val="434343"/>
              </a:solidFill>
              <a:effectLst/>
              <a:uLnTx/>
              <a:uFillTx/>
              <a:latin typeface="-apple-system"/>
              <a:ea typeface="+mn-ea"/>
              <a:cs typeface="+mn-cs"/>
            </a:endParaRP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34343"/>
                </a:solidFill>
                <a:effectLst/>
                <a:uLnTx/>
                <a:uFillTx/>
                <a:latin typeface="-apple-system"/>
                <a:ea typeface="+mn-ea"/>
                <a:cs typeface="+mn-cs"/>
              </a:rPr>
              <a:t>3:45-4:15: </a:t>
            </a:r>
            <a:r>
              <a:rPr kumimoji="0" lang="en-US" sz="2000" b="0" i="0" u="none" strike="noStrike" kern="1200" cap="none" spc="0" normalizeH="0" baseline="0" noProof="0" dirty="0">
                <a:ln>
                  <a:noFill/>
                </a:ln>
                <a:solidFill>
                  <a:srgbClr val="434343"/>
                </a:solidFill>
                <a:effectLst/>
                <a:uLnTx/>
                <a:uFillTx/>
                <a:latin typeface="-apple-system"/>
                <a:ea typeface="+mn-ea"/>
                <a:cs typeface="+mn-cs"/>
                <a:hlinkClick r:id="rId9">
                  <a:extLst>
                    <a:ext uri="{A12FA001-AC4F-418D-AE19-62706E023703}">
                      <ahyp:hlinkClr xmlns:ahyp="http://schemas.microsoft.com/office/drawing/2018/hyperlinkcolor" val="tx"/>
                    </a:ext>
                  </a:extLst>
                </a:hlinkClick>
              </a:rPr>
              <a:t>Bot Design</a:t>
            </a:r>
            <a:r>
              <a:rPr kumimoji="0" lang="en-US" sz="2000" b="0" i="0" u="none" strike="noStrike" kern="1200" cap="none" spc="0" normalizeH="0" baseline="0" noProof="0" dirty="0">
                <a:ln>
                  <a:noFill/>
                </a:ln>
                <a:solidFill>
                  <a:srgbClr val="434343"/>
                </a:solidFill>
                <a:effectLst/>
                <a:uLnTx/>
                <a:uFillTx/>
                <a:latin typeface="-apple-system"/>
                <a:ea typeface="+mn-ea"/>
                <a:cs typeface="+mn-cs"/>
              </a:rPr>
              <a:t> and </a:t>
            </a:r>
            <a:r>
              <a:rPr kumimoji="0" lang="en-US" sz="2000" b="0" i="0" u="none" strike="noStrike" kern="1200" cap="none" spc="0" normalizeH="0" baseline="0" noProof="0" dirty="0">
                <a:ln>
                  <a:noFill/>
                </a:ln>
                <a:solidFill>
                  <a:srgbClr val="434343"/>
                </a:solidFill>
                <a:effectLst/>
                <a:uLnTx/>
                <a:uFillTx/>
                <a:latin typeface="-apple-system"/>
                <a:ea typeface="+mn-ea"/>
                <a:cs typeface="+mn-cs"/>
                <a:hlinkClick r:id="rId10">
                  <a:extLst>
                    <a:ext uri="{A12FA001-AC4F-418D-AE19-62706E023703}">
                      <ahyp:hlinkClr xmlns:ahyp="http://schemas.microsoft.com/office/drawing/2018/hyperlinkcolor" val="tx"/>
                    </a:ext>
                  </a:extLst>
                </a:hlinkClick>
              </a:rPr>
              <a:t>LUIS Design</a:t>
            </a:r>
            <a:r>
              <a:rPr kumimoji="0" lang="en-US" sz="2000" b="0" i="0" u="none" strike="noStrike" kern="1200" cap="none" spc="0" normalizeH="0" baseline="0" noProof="0" dirty="0">
                <a:ln>
                  <a:noFill/>
                </a:ln>
                <a:solidFill>
                  <a:srgbClr val="434343"/>
                </a:solidFill>
                <a:effectLst/>
                <a:uLnTx/>
                <a:uFillTx/>
                <a:latin typeface="-apple-system"/>
                <a:ea typeface="+mn-ea"/>
                <a:cs typeface="+mn-cs"/>
              </a:rPr>
              <a:t> Overview</a:t>
            </a: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34343"/>
                </a:solidFill>
                <a:effectLst/>
                <a:uLnTx/>
                <a:uFillTx/>
                <a:latin typeface="-apple-system"/>
                <a:ea typeface="+mn-ea"/>
                <a:cs typeface="+mn-cs"/>
              </a:rPr>
              <a:t>4:15-5: </a:t>
            </a:r>
            <a:r>
              <a:rPr kumimoji="0" lang="en-US" sz="2000" b="1" i="0" u="none" strike="noStrike" kern="1200" cap="none" spc="0" normalizeH="0" baseline="0" noProof="0" dirty="0">
                <a:ln>
                  <a:noFill/>
                </a:ln>
                <a:solidFill>
                  <a:srgbClr val="434343"/>
                </a:solidFill>
                <a:effectLst/>
                <a:uLnTx/>
                <a:uFillTx/>
                <a:latin typeface="-apple-system"/>
                <a:ea typeface="+mn-ea"/>
                <a:cs typeface="+mn-cs"/>
              </a:rPr>
              <a:t>Day 1 Case</a:t>
            </a:r>
            <a:r>
              <a:rPr kumimoji="0" lang="en-US" sz="2000" b="0" i="0" u="none" strike="noStrike" kern="1200" cap="none" spc="0" normalizeH="0" baseline="0" noProof="0" dirty="0">
                <a:ln>
                  <a:noFill/>
                </a:ln>
                <a:solidFill>
                  <a:srgbClr val="434343"/>
                </a:solidFill>
                <a:effectLst/>
                <a:uLnTx/>
                <a:uFillTx/>
                <a:latin typeface="-apple-system"/>
                <a:ea typeface="+mn-ea"/>
                <a:cs typeface="+mn-cs"/>
              </a:rPr>
              <a:t>: </a:t>
            </a:r>
            <a:r>
              <a:rPr kumimoji="0" lang="en-US" sz="2000" b="0" i="0" u="none" strike="noStrike" kern="1200" cap="none" spc="0" normalizeH="0" baseline="0" noProof="0" dirty="0">
                <a:ln>
                  <a:noFill/>
                </a:ln>
                <a:solidFill>
                  <a:srgbClr val="434343"/>
                </a:solidFill>
                <a:effectLst/>
                <a:uLnTx/>
                <a:uFillTx/>
                <a:latin typeface="-apple-system"/>
                <a:ea typeface="+mn-ea"/>
                <a:cs typeface="+mn-cs"/>
                <a:hlinkClick r:id="rId11">
                  <a:extLst>
                    <a:ext uri="{A12FA001-AC4F-418D-AE19-62706E023703}">
                      <ahyp:hlinkClr xmlns:ahyp="http://schemas.microsoft.com/office/drawing/2018/hyperlinkcolor" val="tx"/>
                    </a:ext>
                  </a:extLst>
                </a:hlinkClick>
              </a:rPr>
              <a:t>Part 1: Bots</a:t>
            </a:r>
            <a:r>
              <a:rPr kumimoji="0" lang="en-US" sz="2000" b="0" i="0" u="none" strike="noStrike" kern="1200" cap="none" spc="0" normalizeH="0" baseline="0" noProof="0" dirty="0">
                <a:ln>
                  <a:noFill/>
                </a:ln>
                <a:solidFill>
                  <a:srgbClr val="434343"/>
                </a:solidFill>
                <a:effectLst/>
                <a:uLnTx/>
                <a:uFillTx/>
                <a:latin typeface="-apple-system"/>
                <a:ea typeface="+mn-ea"/>
                <a:cs typeface="+mn-cs"/>
              </a:rPr>
              <a:t> and </a:t>
            </a:r>
            <a:r>
              <a:rPr kumimoji="0" lang="en-US" sz="2000" b="0" i="0" u="none" strike="noStrike" kern="1200" cap="none" spc="0" normalizeH="0" baseline="0" noProof="0" dirty="0">
                <a:ln>
                  <a:noFill/>
                </a:ln>
                <a:solidFill>
                  <a:srgbClr val="434343"/>
                </a:solidFill>
                <a:effectLst/>
                <a:uLnTx/>
                <a:uFillTx/>
                <a:latin typeface="-apple-system"/>
                <a:ea typeface="+mn-ea"/>
                <a:cs typeface="+mn-cs"/>
                <a:hlinkClick r:id="rId12">
                  <a:extLst>
                    <a:ext uri="{A12FA001-AC4F-418D-AE19-62706E023703}">
                      <ahyp:hlinkClr xmlns:ahyp="http://schemas.microsoft.com/office/drawing/2018/hyperlinkcolor" val="tx"/>
                    </a:ext>
                  </a:extLst>
                </a:hlinkClick>
              </a:rPr>
              <a:t>Part 2: LUIS</a:t>
            </a:r>
            <a:endParaRPr kumimoji="0" lang="en-US" sz="2000" b="0" i="0" u="none" strike="noStrike" kern="1200" cap="none" spc="0" normalizeH="0" baseline="0" noProof="0" dirty="0">
              <a:ln>
                <a:noFill/>
              </a:ln>
              <a:solidFill>
                <a:srgbClr val="434343"/>
              </a:solidFill>
              <a:effectLst/>
              <a:uLnTx/>
              <a:uFillTx/>
              <a:latin typeface="-apple-system"/>
              <a:ea typeface="+mn-ea"/>
              <a:cs typeface="+mn-cs"/>
            </a:endParaRP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1" i="0" u="none" strike="noStrike" kern="1200" cap="none" spc="0" normalizeH="0" baseline="0" noProof="0" dirty="0">
                <a:ln>
                  <a:noFill/>
                </a:ln>
                <a:solidFill>
                  <a:srgbClr val="0072C6"/>
                </a:solidFill>
                <a:effectLst/>
                <a:uLnTx/>
                <a:uFillTx/>
                <a:latin typeface="-apple-system"/>
                <a:ea typeface="+mn-ea"/>
                <a:cs typeface="+mn-cs"/>
              </a:rPr>
              <a:t>5-6: Learn AI Office Hours</a:t>
            </a:r>
          </a:p>
          <a:p>
            <a:pPr marL="17" marR="0" lvl="0" indent="0" algn="l" defTabSz="91436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434343"/>
              </a:solidFill>
              <a:effectLst/>
              <a:uLnTx/>
              <a:uFillTx/>
              <a:latin typeface="-apple-system"/>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434343"/>
                </a:solidFill>
                <a:effectLst/>
                <a:uLnTx/>
                <a:uFillTx/>
                <a:latin typeface="-apple-system"/>
                <a:ea typeface="+mn-ea"/>
                <a:cs typeface="+mn-cs"/>
              </a:rPr>
              <a:t>Day 2: Bots</a:t>
            </a: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34343"/>
                </a:solidFill>
                <a:effectLst/>
                <a:uLnTx/>
                <a:uFillTx/>
                <a:latin typeface="-apple-system"/>
                <a:ea typeface="+mn-ea"/>
                <a:cs typeface="+mn-cs"/>
              </a:rPr>
              <a:t>8:30-9: Recap and Intro to LUIS</a:t>
            </a: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34343"/>
                </a:solidFill>
                <a:effectLst/>
                <a:uLnTx/>
                <a:uFillTx/>
                <a:latin typeface="-apple-system"/>
                <a:ea typeface="+mn-ea"/>
                <a:cs typeface="+mn-cs"/>
              </a:rPr>
              <a:t>9-9:45: </a:t>
            </a:r>
            <a:r>
              <a:rPr kumimoji="0" lang="en-US" sz="2000" b="1" i="0" u="none" strike="noStrike" kern="1200" cap="none" spc="0" normalizeH="0" baseline="0" noProof="0" dirty="0">
                <a:ln>
                  <a:noFill/>
                </a:ln>
                <a:solidFill>
                  <a:srgbClr val="434343"/>
                </a:solidFill>
                <a:effectLst/>
                <a:uLnTx/>
                <a:uFillTx/>
                <a:latin typeface="-apple-system"/>
                <a:ea typeface="+mn-ea"/>
                <a:cs typeface="+mn-cs"/>
                <a:hlinkClick r:id="rId13">
                  <a:extLst>
                    <a:ext uri="{A12FA001-AC4F-418D-AE19-62706E023703}">
                      <ahyp:hlinkClr xmlns:ahyp="http://schemas.microsoft.com/office/drawing/2018/hyperlinkcolor" val="tx"/>
                    </a:ext>
                  </a:extLst>
                </a:hlinkClick>
              </a:rPr>
              <a:t>Lab 5</a:t>
            </a:r>
            <a:r>
              <a:rPr kumimoji="0" lang="en-US" sz="2000" b="0" i="0" u="none" strike="noStrike" kern="1200" cap="none" spc="0" normalizeH="0" baseline="0" noProof="0" dirty="0">
                <a:ln>
                  <a:noFill/>
                </a:ln>
                <a:solidFill>
                  <a:srgbClr val="434343"/>
                </a:solidFill>
                <a:effectLst/>
                <a:uLnTx/>
                <a:uFillTx/>
                <a:latin typeface="-apple-system"/>
                <a:ea typeface="+mn-ea"/>
                <a:cs typeface="+mn-cs"/>
                <a:hlinkClick r:id="rId13">
                  <a:extLst>
                    <a:ext uri="{A12FA001-AC4F-418D-AE19-62706E023703}">
                      <ahyp:hlinkClr xmlns:ahyp="http://schemas.microsoft.com/office/drawing/2018/hyperlinkcolor" val="tx"/>
                    </a:ext>
                  </a:extLst>
                </a:hlinkClick>
              </a:rPr>
              <a:t>: Language Understanding Intelligent Service (LUIS)</a:t>
            </a:r>
            <a:endParaRPr kumimoji="0" lang="en-US" sz="2000" b="0" i="0" u="none" strike="noStrike" kern="1200" cap="none" spc="0" normalizeH="0" baseline="0" noProof="0" dirty="0">
              <a:ln>
                <a:noFill/>
              </a:ln>
              <a:solidFill>
                <a:srgbClr val="434343"/>
              </a:solidFill>
              <a:effectLst/>
              <a:uLnTx/>
              <a:uFillTx/>
              <a:latin typeface="-apple-system"/>
              <a:ea typeface="+mn-ea"/>
              <a:cs typeface="+mn-cs"/>
            </a:endParaRP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34343"/>
                </a:solidFill>
                <a:effectLst/>
                <a:uLnTx/>
                <a:uFillTx/>
                <a:latin typeface="-apple-system"/>
                <a:ea typeface="+mn-ea"/>
                <a:cs typeface="+mn-cs"/>
              </a:rPr>
              <a:t>9:45-10:15: </a:t>
            </a:r>
            <a:r>
              <a:rPr kumimoji="0" lang="en-US" sz="2000" b="0" i="0" u="none" strike="noStrike" kern="1200" cap="none" spc="0" normalizeH="0" baseline="0" noProof="0" dirty="0">
                <a:ln>
                  <a:noFill/>
                </a:ln>
                <a:solidFill>
                  <a:srgbClr val="434343"/>
                </a:solidFill>
                <a:effectLst/>
                <a:uLnTx/>
                <a:uFillTx/>
                <a:latin typeface="-apple-system"/>
                <a:ea typeface="+mn-ea"/>
                <a:cs typeface="+mn-cs"/>
                <a:hlinkClick r:id="rId14">
                  <a:extLst>
                    <a:ext uri="{A12FA001-AC4F-418D-AE19-62706E023703}">
                      <ahyp:hlinkClr xmlns:ahyp="http://schemas.microsoft.com/office/drawing/2018/hyperlinkcolor" val="tx"/>
                    </a:ext>
                  </a:extLst>
                </a:hlinkClick>
              </a:rPr>
              <a:t>Bot Architectures</a:t>
            </a:r>
            <a:endParaRPr kumimoji="0" lang="en-US" sz="2000" b="0" i="0" u="none" strike="noStrike" kern="1200" cap="none" spc="0" normalizeH="0" baseline="0" noProof="0" dirty="0">
              <a:ln>
                <a:noFill/>
              </a:ln>
              <a:solidFill>
                <a:srgbClr val="434343"/>
              </a:solidFill>
              <a:effectLst/>
              <a:uLnTx/>
              <a:uFillTx/>
              <a:latin typeface="-apple-system"/>
              <a:ea typeface="+mn-ea"/>
              <a:cs typeface="+mn-cs"/>
            </a:endParaRP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34343"/>
                </a:solidFill>
                <a:effectLst/>
                <a:uLnTx/>
                <a:uFillTx/>
                <a:latin typeface="-apple-system"/>
                <a:ea typeface="+mn-ea"/>
                <a:cs typeface="+mn-cs"/>
              </a:rPr>
              <a:t>10:15-12: </a:t>
            </a:r>
            <a:r>
              <a:rPr kumimoji="0" lang="en-US" sz="2000" b="1" i="0" u="none" strike="noStrike" kern="1200" cap="none" spc="0" normalizeH="0" baseline="0" noProof="0" dirty="0">
                <a:ln>
                  <a:noFill/>
                </a:ln>
                <a:solidFill>
                  <a:srgbClr val="434343"/>
                </a:solidFill>
                <a:effectLst/>
                <a:uLnTx/>
                <a:uFillTx/>
                <a:latin typeface="-apple-system"/>
                <a:ea typeface="+mn-ea"/>
                <a:cs typeface="+mn-cs"/>
                <a:hlinkClick r:id="rId15">
                  <a:extLst>
                    <a:ext uri="{A12FA001-AC4F-418D-AE19-62706E023703}">
                      <ahyp:hlinkClr xmlns:ahyp="http://schemas.microsoft.com/office/drawing/2018/hyperlinkcolor" val="tx"/>
                    </a:ext>
                  </a:extLst>
                </a:hlinkClick>
              </a:rPr>
              <a:t>Lab 6</a:t>
            </a:r>
            <a:r>
              <a:rPr kumimoji="0" lang="en-US" sz="2000" b="0" i="0" u="none" strike="noStrike" kern="1200" cap="none" spc="0" normalizeH="0" baseline="0" noProof="0" dirty="0">
                <a:ln>
                  <a:noFill/>
                </a:ln>
                <a:solidFill>
                  <a:srgbClr val="434343"/>
                </a:solidFill>
                <a:effectLst/>
                <a:uLnTx/>
                <a:uFillTx/>
                <a:latin typeface="-apple-system"/>
                <a:ea typeface="+mn-ea"/>
                <a:cs typeface="+mn-cs"/>
                <a:hlinkClick r:id="rId15">
                  <a:extLst>
                    <a:ext uri="{A12FA001-AC4F-418D-AE19-62706E023703}">
                      <ahyp:hlinkClr xmlns:ahyp="http://schemas.microsoft.com/office/drawing/2018/hyperlinkcolor" val="tx"/>
                    </a:ext>
                  </a:extLst>
                </a:hlinkClick>
              </a:rPr>
              <a:t>: Building Intelligent Bots</a:t>
            </a:r>
            <a:endParaRPr kumimoji="0" lang="en-US" sz="2000" b="0" i="0" u="none" strike="noStrike" kern="1200" cap="none" spc="0" normalizeH="0" baseline="0" noProof="0" dirty="0">
              <a:ln>
                <a:noFill/>
              </a:ln>
              <a:solidFill>
                <a:srgbClr val="434343"/>
              </a:solidFill>
              <a:effectLst/>
              <a:uLnTx/>
              <a:uFillTx/>
              <a:latin typeface="-apple-system"/>
              <a:ea typeface="+mn-ea"/>
              <a:cs typeface="+mn-cs"/>
            </a:endParaRP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34343"/>
                </a:solidFill>
                <a:effectLst/>
                <a:uLnTx/>
                <a:uFillTx/>
                <a:latin typeface="-apple-system"/>
                <a:ea typeface="+mn-ea"/>
                <a:cs typeface="+mn-cs"/>
              </a:rPr>
              <a:t>12-1: Lunch</a:t>
            </a: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34343"/>
                </a:solidFill>
                <a:effectLst/>
                <a:uLnTx/>
                <a:uFillTx/>
                <a:latin typeface="-apple-system"/>
                <a:ea typeface="+mn-ea"/>
                <a:cs typeface="+mn-cs"/>
              </a:rPr>
              <a:t>1-2: </a:t>
            </a:r>
            <a:r>
              <a:rPr kumimoji="0" lang="en-US" sz="2000" b="1" i="0" u="sng" strike="noStrike" kern="1200" cap="none" spc="0" normalizeH="0" baseline="0" noProof="0" dirty="0">
                <a:ln>
                  <a:noFill/>
                </a:ln>
                <a:solidFill>
                  <a:srgbClr val="434343"/>
                </a:solidFill>
                <a:effectLst/>
                <a:uLnTx/>
                <a:uFillTx/>
                <a:latin typeface="-apple-system"/>
                <a:ea typeface="+mn-ea"/>
                <a:cs typeface="+mn-cs"/>
              </a:rPr>
              <a:t>Lab 6 </a:t>
            </a:r>
            <a:r>
              <a:rPr kumimoji="0" lang="en-US" sz="2000" b="0" i="0" u="sng" strike="noStrike" kern="1200" cap="none" spc="0" normalizeH="0" baseline="0" noProof="0" dirty="0">
                <a:ln>
                  <a:noFill/>
                </a:ln>
                <a:solidFill>
                  <a:srgbClr val="434343"/>
                </a:solidFill>
                <a:effectLst/>
                <a:uLnTx/>
                <a:uFillTx/>
                <a:latin typeface="-apple-system"/>
                <a:ea typeface="+mn-ea"/>
                <a:cs typeface="+mn-cs"/>
              </a:rPr>
              <a:t>continued</a:t>
            </a: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34343"/>
                </a:solidFill>
                <a:effectLst/>
                <a:uLnTx/>
                <a:uFillTx/>
                <a:latin typeface="-apple-system"/>
                <a:ea typeface="+mn-ea"/>
                <a:cs typeface="+mn-cs"/>
              </a:rPr>
              <a:t>2-4: </a:t>
            </a:r>
            <a:r>
              <a:rPr kumimoji="0" lang="en-US" sz="2000" b="1" i="0" u="sng" strike="noStrike" kern="1200" cap="none" spc="0" normalizeH="0" baseline="0" noProof="0" dirty="0">
                <a:ln>
                  <a:noFill/>
                </a:ln>
                <a:solidFill>
                  <a:srgbClr val="434343"/>
                </a:solidFill>
                <a:effectLst/>
                <a:uLnTx/>
                <a:uFillTx/>
                <a:latin typeface="-apple-system"/>
                <a:ea typeface="+mn-ea"/>
                <a:cs typeface="+mn-cs"/>
              </a:rPr>
              <a:t>Lab 7</a:t>
            </a:r>
            <a:r>
              <a:rPr kumimoji="0" lang="en-US" sz="2000" b="0" i="0" u="sng" strike="noStrike" kern="1200" cap="none" spc="0" normalizeH="0" baseline="0" noProof="0" dirty="0">
                <a:ln>
                  <a:noFill/>
                </a:ln>
                <a:solidFill>
                  <a:srgbClr val="434343"/>
                </a:solidFill>
                <a:effectLst/>
                <a:uLnTx/>
                <a:uFillTx/>
                <a:latin typeface="-apple-system"/>
                <a:ea typeface="+mn-ea"/>
                <a:cs typeface="+mn-cs"/>
              </a:rPr>
              <a:t>: Bing Search</a:t>
            </a: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34343"/>
                </a:solidFill>
                <a:effectLst/>
                <a:uLnTx/>
                <a:uFillTx/>
                <a:latin typeface="-apple-system"/>
                <a:ea typeface="+mn-ea"/>
                <a:cs typeface="+mn-cs"/>
              </a:rPr>
              <a:t>4-5: </a:t>
            </a:r>
            <a:r>
              <a:rPr kumimoji="0" lang="en-US" sz="2000" b="1" i="0" u="none" strike="noStrike" kern="1200" cap="none" spc="0" normalizeH="0" baseline="0" noProof="0" dirty="0">
                <a:ln>
                  <a:noFill/>
                </a:ln>
                <a:solidFill>
                  <a:srgbClr val="434343"/>
                </a:solidFill>
                <a:effectLst/>
                <a:uLnTx/>
                <a:uFillTx/>
                <a:latin typeface="-apple-system"/>
                <a:ea typeface="+mn-ea"/>
                <a:cs typeface="+mn-cs"/>
              </a:rPr>
              <a:t>Day 2 Case</a:t>
            </a:r>
            <a:r>
              <a:rPr kumimoji="0" lang="en-US" sz="2000" b="0" i="0" u="none" strike="noStrike" kern="1200" cap="none" spc="0" normalizeH="0" baseline="0" noProof="0" dirty="0">
                <a:ln>
                  <a:noFill/>
                </a:ln>
                <a:solidFill>
                  <a:srgbClr val="434343"/>
                </a:solidFill>
                <a:effectLst/>
                <a:uLnTx/>
                <a:uFillTx/>
                <a:latin typeface="-apple-system"/>
                <a:ea typeface="+mn-ea"/>
                <a:cs typeface="+mn-cs"/>
              </a:rPr>
              <a:t>: </a:t>
            </a:r>
            <a:r>
              <a:rPr kumimoji="0" lang="en-US" sz="2000" b="0" i="0" u="sng" strike="noStrike" kern="1200" cap="none" spc="0" normalizeH="0" baseline="0" noProof="0" dirty="0">
                <a:ln>
                  <a:noFill/>
                </a:ln>
                <a:solidFill>
                  <a:srgbClr val="434343"/>
                </a:solidFill>
                <a:effectLst/>
                <a:uLnTx/>
                <a:uFillTx/>
                <a:latin typeface="-apple-system"/>
                <a:ea typeface="+mn-ea"/>
                <a:cs typeface="+mn-cs"/>
              </a:rPr>
              <a:t>Part 1: </a:t>
            </a:r>
            <a:r>
              <a:rPr kumimoji="0" lang="en-US" sz="2000" b="0" i="0" u="none" strike="noStrike" kern="1200" cap="none" spc="0" normalizeH="0" baseline="0" noProof="0" dirty="0">
                <a:ln>
                  <a:noFill/>
                </a:ln>
                <a:solidFill>
                  <a:srgbClr val="434343"/>
                </a:solidFill>
                <a:effectLst/>
                <a:uLnTx/>
                <a:uFillTx/>
                <a:latin typeface="-apple-system"/>
                <a:ea typeface="+mn-ea"/>
                <a:cs typeface="+mn-cs"/>
                <a:hlinkClick r:id="rId16">
                  <a:extLst>
                    <a:ext uri="{A12FA001-AC4F-418D-AE19-62706E023703}">
                      <ahyp:hlinkClr xmlns:ahyp="http://schemas.microsoft.com/office/drawing/2018/hyperlinkcolor" val="tx"/>
                    </a:ext>
                  </a:extLst>
                </a:hlinkClick>
              </a:rPr>
              <a:t>Bot Architectures</a:t>
            </a:r>
            <a:r>
              <a:rPr kumimoji="0" lang="en-US" sz="2000" b="0" i="0" u="none" strike="noStrike" kern="1200" cap="none" spc="0" normalizeH="0" baseline="0" noProof="0" dirty="0">
                <a:ln>
                  <a:noFill/>
                </a:ln>
                <a:solidFill>
                  <a:srgbClr val="434343"/>
                </a:solidFill>
                <a:effectLst/>
                <a:uLnTx/>
                <a:uFillTx/>
                <a:latin typeface="-apple-system"/>
                <a:ea typeface="+mn-ea"/>
                <a:cs typeface="+mn-cs"/>
              </a:rPr>
              <a:t> and </a:t>
            </a:r>
            <a:r>
              <a:rPr kumimoji="0" lang="en-US" sz="2000" b="0" i="0" u="sng" strike="noStrike" kern="1200" cap="none" spc="0" normalizeH="0" baseline="0" noProof="0" dirty="0">
                <a:ln>
                  <a:noFill/>
                </a:ln>
                <a:solidFill>
                  <a:srgbClr val="434343"/>
                </a:solidFill>
                <a:effectLst/>
                <a:uLnTx/>
                <a:uFillTx/>
                <a:latin typeface="-apple-system"/>
                <a:ea typeface="+mn-ea"/>
                <a:cs typeface="+mn-cs"/>
              </a:rPr>
              <a:t>Part 2: Cognitive Services</a:t>
            </a: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1" i="0" u="none" strike="noStrike" kern="1200" cap="none" spc="0" normalizeH="0" baseline="0" noProof="0" dirty="0">
                <a:ln>
                  <a:noFill/>
                </a:ln>
                <a:solidFill>
                  <a:srgbClr val="0072C6"/>
                </a:solidFill>
                <a:effectLst/>
                <a:uLnTx/>
                <a:uFillTx/>
                <a:latin typeface="-apple-system"/>
                <a:ea typeface="+mn-ea"/>
                <a:cs typeface="+mn-cs"/>
              </a:rPr>
              <a:t>5-6: Learn AI Office Hours</a:t>
            </a:r>
            <a:endParaRPr kumimoji="0" lang="en-US" sz="2000" b="0" i="0" u="sng" strike="noStrike" kern="1200" cap="none" spc="0" normalizeH="0" baseline="0" noProof="0" dirty="0">
              <a:ln>
                <a:noFill/>
              </a:ln>
              <a:solidFill>
                <a:srgbClr val="434343"/>
              </a:solidFill>
              <a:effectLst/>
              <a:uLnTx/>
              <a:uFillTx/>
              <a:latin typeface="-apple-system"/>
              <a:ea typeface="+mn-ea"/>
              <a:cs typeface="+mn-cs"/>
            </a:endParaRP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434343"/>
              </a:solidFill>
              <a:effectLst/>
              <a:uLnTx/>
              <a:uFillTx/>
              <a:latin typeface="-apple-system"/>
              <a:ea typeface="+mn-ea"/>
              <a:cs typeface="+mn-cs"/>
            </a:endParaRPr>
          </a:p>
          <a:p>
            <a:pPr marL="457200" marR="0" lvl="1" indent="0" algn="l" defTabSz="91436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434343"/>
              </a:solidFill>
              <a:effectLst/>
              <a:uLnTx/>
              <a:uFillTx/>
              <a:latin typeface="-apple-system"/>
              <a:ea typeface="+mn-ea"/>
              <a:cs typeface="+mn-cs"/>
            </a:endParaRPr>
          </a:p>
          <a:p>
            <a:pPr marL="457200" marR="0" lvl="1" indent="0" algn="l" defTabSz="91436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434343"/>
              </a:solidFill>
              <a:effectLst/>
              <a:uLnTx/>
              <a:uFillTx/>
              <a:latin typeface="-apple-system"/>
              <a:ea typeface="+mn-ea"/>
              <a:cs typeface="+mn-cs"/>
            </a:endParaRPr>
          </a:p>
          <a:p>
            <a:pPr marL="457200" marR="0" lvl="1" indent="0" algn="l" defTabSz="91436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434343"/>
              </a:solidFill>
              <a:effectLst/>
              <a:uLnTx/>
              <a:uFillTx/>
              <a:latin typeface="-apple-system"/>
              <a:ea typeface="+mn-ea"/>
              <a:cs typeface="+mn-cs"/>
            </a:endParaRPr>
          </a:p>
          <a:p>
            <a:pPr marL="457200" marR="0" lvl="1" indent="0" algn="l" defTabSz="91436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434343"/>
              </a:solidFill>
              <a:effectLst/>
              <a:uLnTx/>
              <a:uFillTx/>
              <a:latin typeface="-apple-system"/>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434343"/>
                </a:solidFill>
                <a:effectLst/>
                <a:uLnTx/>
                <a:uFillTx/>
                <a:latin typeface="-apple-system"/>
                <a:ea typeface="+mn-ea"/>
                <a:cs typeface="+mn-cs"/>
              </a:rPr>
              <a:t>Day 3: Knowledge Mining/Final Case</a:t>
            </a:r>
            <a:endParaRPr kumimoji="0" lang="en-US" sz="2000" b="0" i="0" u="none" strike="noStrike" kern="1200" cap="none" spc="0" normalizeH="0" baseline="0" noProof="0" dirty="0">
              <a:ln>
                <a:noFill/>
              </a:ln>
              <a:solidFill>
                <a:srgbClr val="434343"/>
              </a:solidFill>
              <a:effectLst/>
              <a:uLnTx/>
              <a:uFillTx/>
              <a:latin typeface="-apple-system"/>
              <a:ea typeface="+mn-ea"/>
              <a:cs typeface="+mn-cs"/>
            </a:endParaRP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34343"/>
                </a:solidFill>
                <a:effectLst/>
                <a:uLnTx/>
                <a:uFillTx/>
                <a:latin typeface="-apple-system"/>
                <a:ea typeface="+mn-ea"/>
                <a:cs typeface="+mn-cs"/>
              </a:rPr>
              <a:t>8:30-9: Recap, Cognitive Search Intro, and Lab Architecture</a:t>
            </a: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34343"/>
                </a:solidFill>
                <a:effectLst/>
                <a:uLnTx/>
                <a:uFillTx/>
                <a:latin typeface="-apple-system"/>
                <a:ea typeface="+mn-ea"/>
                <a:cs typeface="+mn-cs"/>
              </a:rPr>
              <a:t>9-10:30: Environment Creation and </a:t>
            </a:r>
            <a:r>
              <a:rPr kumimoji="0" lang="en-US" sz="2000" b="1" i="0" u="none" strike="noStrike" kern="1200" cap="none" spc="0" normalizeH="0" baseline="0" noProof="0" dirty="0">
                <a:ln>
                  <a:noFill/>
                </a:ln>
                <a:solidFill>
                  <a:srgbClr val="434343"/>
                </a:solidFill>
                <a:effectLst/>
                <a:uLnTx/>
                <a:uFillTx/>
                <a:latin typeface="-apple-system"/>
                <a:ea typeface="+mn-ea"/>
                <a:cs typeface="+mn-cs"/>
                <a:hlinkClick r:id="rId17">
                  <a:extLst>
                    <a:ext uri="{A12FA001-AC4F-418D-AE19-62706E023703}">
                      <ahyp:hlinkClr xmlns:ahyp="http://schemas.microsoft.com/office/drawing/2018/hyperlinkcolor" val="tx"/>
                    </a:ext>
                  </a:extLst>
                </a:hlinkClick>
              </a:rPr>
              <a:t>Lab 9</a:t>
            </a:r>
            <a:r>
              <a:rPr kumimoji="0" lang="en-US" sz="2000" b="0" i="0" u="none" strike="noStrike" kern="1200" cap="none" spc="0" normalizeH="0" baseline="0" noProof="0" dirty="0">
                <a:ln>
                  <a:noFill/>
                </a:ln>
                <a:solidFill>
                  <a:srgbClr val="434343"/>
                </a:solidFill>
                <a:effectLst/>
                <a:uLnTx/>
                <a:uFillTx/>
                <a:latin typeface="-apple-system"/>
                <a:ea typeface="+mn-ea"/>
                <a:cs typeface="+mn-cs"/>
                <a:hlinkClick r:id="rId17">
                  <a:extLst>
                    <a:ext uri="{A12FA001-AC4F-418D-AE19-62706E023703}">
                      <ahyp:hlinkClr xmlns:ahyp="http://schemas.microsoft.com/office/drawing/2018/hyperlinkcolor" val="tx"/>
                    </a:ext>
                  </a:extLst>
                </a:hlinkClick>
              </a:rPr>
              <a:t>: Cognitive Search I: Text Skills</a:t>
            </a:r>
            <a:endParaRPr kumimoji="0" lang="en-US" sz="2000" b="0" i="0" u="none" strike="noStrike" kern="1200" cap="none" spc="0" normalizeH="0" baseline="0" noProof="0" dirty="0">
              <a:ln>
                <a:noFill/>
              </a:ln>
              <a:solidFill>
                <a:srgbClr val="434343"/>
              </a:solidFill>
              <a:effectLst/>
              <a:uLnTx/>
              <a:uFillTx/>
              <a:latin typeface="-apple-system"/>
              <a:ea typeface="+mn-ea"/>
              <a:cs typeface="+mn-cs"/>
            </a:endParaRP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34343"/>
                </a:solidFill>
                <a:effectLst/>
                <a:uLnTx/>
                <a:uFillTx/>
                <a:latin typeface="-apple-system"/>
                <a:ea typeface="+mn-ea"/>
                <a:cs typeface="+mn-cs"/>
              </a:rPr>
              <a:t>10:30-12: </a:t>
            </a:r>
            <a:r>
              <a:rPr kumimoji="0" lang="en-US" sz="2000" b="1" i="0" u="none" strike="noStrike" kern="1200" cap="none" spc="0" normalizeH="0" baseline="0" noProof="0" dirty="0">
                <a:ln>
                  <a:noFill/>
                </a:ln>
                <a:solidFill>
                  <a:srgbClr val="434343"/>
                </a:solidFill>
                <a:effectLst/>
                <a:uLnTx/>
                <a:uFillTx/>
                <a:latin typeface="-apple-system"/>
                <a:ea typeface="+mn-ea"/>
                <a:cs typeface="+mn-cs"/>
                <a:hlinkClick r:id="rId18">
                  <a:extLst>
                    <a:ext uri="{A12FA001-AC4F-418D-AE19-62706E023703}">
                      <ahyp:hlinkClr xmlns:ahyp="http://schemas.microsoft.com/office/drawing/2018/hyperlinkcolor" val="tx"/>
                    </a:ext>
                  </a:extLst>
                </a:hlinkClick>
              </a:rPr>
              <a:t>Lab 10</a:t>
            </a:r>
            <a:r>
              <a:rPr kumimoji="0" lang="en-US" sz="2000" b="0" i="0" u="none" strike="noStrike" kern="1200" cap="none" spc="0" normalizeH="0" baseline="0" noProof="0" dirty="0">
                <a:ln>
                  <a:noFill/>
                </a:ln>
                <a:solidFill>
                  <a:srgbClr val="434343"/>
                </a:solidFill>
                <a:effectLst/>
                <a:uLnTx/>
                <a:uFillTx/>
                <a:latin typeface="-apple-system"/>
                <a:ea typeface="+mn-ea"/>
                <a:cs typeface="+mn-cs"/>
                <a:hlinkClick r:id="rId18">
                  <a:extLst>
                    <a:ext uri="{A12FA001-AC4F-418D-AE19-62706E023703}">
                      <ahyp:hlinkClr xmlns:ahyp="http://schemas.microsoft.com/office/drawing/2018/hyperlinkcolor" val="tx"/>
                    </a:ext>
                  </a:extLst>
                </a:hlinkClick>
              </a:rPr>
              <a:t>: Cognitive Search II: Image Skills</a:t>
            </a:r>
            <a:endParaRPr kumimoji="0" lang="en-US" sz="2000" b="0" i="0" u="none" strike="noStrike" kern="1200" cap="none" spc="0" normalizeH="0" baseline="0" noProof="0" dirty="0">
              <a:ln>
                <a:noFill/>
              </a:ln>
              <a:solidFill>
                <a:srgbClr val="434343"/>
              </a:solidFill>
              <a:effectLst/>
              <a:uLnTx/>
              <a:uFillTx/>
              <a:latin typeface="-apple-system"/>
              <a:ea typeface="+mn-ea"/>
              <a:cs typeface="+mn-cs"/>
            </a:endParaRP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34343"/>
                </a:solidFill>
                <a:effectLst/>
                <a:uLnTx/>
                <a:uFillTx/>
                <a:latin typeface="-apple-system"/>
                <a:ea typeface="+mn-ea"/>
                <a:cs typeface="+mn-cs"/>
              </a:rPr>
              <a:t>12-1: Lunch</a:t>
            </a: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34343"/>
                </a:solidFill>
                <a:effectLst/>
                <a:uLnTx/>
                <a:uFillTx/>
                <a:latin typeface="-apple-system"/>
                <a:ea typeface="+mn-ea"/>
                <a:cs typeface="+mn-cs"/>
              </a:rPr>
              <a:t>1-1:15: </a:t>
            </a:r>
            <a:r>
              <a:rPr kumimoji="0" lang="en-US" sz="2000" b="1" i="0" u="none" strike="noStrike" kern="1200" cap="none" spc="0" normalizeH="0" baseline="0" noProof="0" dirty="0">
                <a:ln>
                  <a:noFill/>
                </a:ln>
                <a:solidFill>
                  <a:srgbClr val="434343"/>
                </a:solidFill>
                <a:effectLst/>
                <a:uLnTx/>
                <a:uFillTx/>
                <a:latin typeface="-apple-system"/>
                <a:ea typeface="+mn-ea"/>
                <a:cs typeface="+mn-cs"/>
              </a:rPr>
              <a:t>Final Case</a:t>
            </a:r>
            <a:r>
              <a:rPr kumimoji="0" lang="en-US" sz="2000" b="0" i="0" u="none" strike="noStrike" kern="1200" cap="none" spc="0" normalizeH="0" baseline="0" noProof="0" dirty="0">
                <a:ln>
                  <a:noFill/>
                </a:ln>
                <a:solidFill>
                  <a:srgbClr val="434343"/>
                </a:solidFill>
                <a:effectLst/>
                <a:uLnTx/>
                <a:uFillTx/>
                <a:latin typeface="-apple-system"/>
                <a:ea typeface="+mn-ea"/>
                <a:cs typeface="+mn-cs"/>
              </a:rPr>
              <a:t>: </a:t>
            </a:r>
            <a:r>
              <a:rPr kumimoji="0" lang="en-US" sz="2000" b="0" i="0" u="none" strike="noStrike" kern="1200" cap="none" spc="0" normalizeH="0" baseline="0" noProof="0" dirty="0">
                <a:ln>
                  <a:noFill/>
                </a:ln>
                <a:solidFill>
                  <a:srgbClr val="434343"/>
                </a:solidFill>
                <a:effectLst/>
                <a:uLnTx/>
                <a:uFillTx/>
                <a:latin typeface="-apple-system"/>
                <a:ea typeface="+mn-ea"/>
                <a:cs typeface="+mn-cs"/>
                <a:hlinkClick r:id="rId19">
                  <a:extLst>
                    <a:ext uri="{A12FA001-AC4F-418D-AE19-62706E023703}">
                      <ahyp:hlinkClr xmlns:ahyp="http://schemas.microsoft.com/office/drawing/2018/hyperlinkcolor" val="tx"/>
                    </a:ext>
                  </a:extLst>
                </a:hlinkClick>
              </a:rPr>
              <a:t>Introduction</a:t>
            </a:r>
            <a:endParaRPr kumimoji="0" lang="en-US" sz="2000" b="0" i="0" u="none" strike="noStrike" kern="1200" cap="none" spc="0" normalizeH="0" baseline="0" noProof="0" dirty="0">
              <a:ln>
                <a:noFill/>
              </a:ln>
              <a:solidFill>
                <a:srgbClr val="434343"/>
              </a:solidFill>
              <a:effectLst/>
              <a:uLnTx/>
              <a:uFillTx/>
              <a:latin typeface="-apple-system"/>
              <a:ea typeface="+mn-ea"/>
              <a:cs typeface="+mn-cs"/>
            </a:endParaRP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34343"/>
                </a:solidFill>
                <a:effectLst/>
                <a:uLnTx/>
                <a:uFillTx/>
                <a:latin typeface="-apple-system"/>
                <a:ea typeface="+mn-ea"/>
                <a:cs typeface="+mn-cs"/>
              </a:rPr>
              <a:t>1:15-3: Final Case: Working time</a:t>
            </a: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34343"/>
                </a:solidFill>
                <a:effectLst/>
                <a:uLnTx/>
                <a:uFillTx/>
                <a:latin typeface="-apple-system"/>
                <a:ea typeface="+mn-ea"/>
                <a:cs typeface="+mn-cs"/>
              </a:rPr>
              <a:t>3-4: Final Case: Presentations</a:t>
            </a:r>
          </a:p>
          <a:p>
            <a:pPr marL="285767"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34343"/>
                </a:solidFill>
                <a:effectLst/>
                <a:uLnTx/>
                <a:uFillTx/>
                <a:latin typeface="-apple-system"/>
                <a:ea typeface="+mn-ea"/>
                <a:cs typeface="+mn-cs"/>
              </a:rPr>
              <a:t>4-5: Airlift Q&amp;A and Feedback</a:t>
            </a:r>
          </a:p>
        </p:txBody>
      </p:sp>
      <p:sp>
        <p:nvSpPr>
          <p:cNvPr id="4" name="Title 16">
            <a:extLst>
              <a:ext uri="{FF2B5EF4-FFF2-40B4-BE49-F238E27FC236}">
                <a16:creationId xmlns:a16="http://schemas.microsoft.com/office/drawing/2014/main" id="{536D50BC-671A-477C-B0D1-C0159617D4FB}"/>
              </a:ext>
            </a:extLst>
          </p:cNvPr>
          <p:cNvSpPr>
            <a:spLocks noGrp="1"/>
          </p:cNvSpPr>
          <p:nvPr>
            <p:ph type="title"/>
          </p:nvPr>
        </p:nvSpPr>
        <p:spPr>
          <a:xfrm>
            <a:off x="269240" y="289512"/>
            <a:ext cx="11655840" cy="498598"/>
          </a:xfrm>
        </p:spPr>
        <p:txBody>
          <a:bodyPr/>
          <a:lstStyle/>
          <a:p>
            <a:r>
              <a:rPr lang="en-US" dirty="0">
                <a:solidFill>
                  <a:schemeClr val="bg1"/>
                </a:solidFill>
              </a:rPr>
              <a:t>Welcome Back!!</a:t>
            </a:r>
          </a:p>
        </p:txBody>
      </p:sp>
    </p:spTree>
    <p:extLst>
      <p:ext uri="{BB962C8B-B14F-4D97-AF65-F5344CB8AC3E}">
        <p14:creationId xmlns:p14="http://schemas.microsoft.com/office/powerpoint/2010/main" val="3713008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LUIS</a:t>
            </a:r>
          </a:p>
        </p:txBody>
      </p:sp>
    </p:spTree>
    <p:extLst>
      <p:ext uri="{BB962C8B-B14F-4D97-AF65-F5344CB8AC3E}">
        <p14:creationId xmlns:p14="http://schemas.microsoft.com/office/powerpoint/2010/main" val="3820717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solidFill>
                  <a:schemeClr val="bg2"/>
                </a:solidFill>
              </a:rPr>
              <a:t>Why NLU?</a:t>
            </a:r>
          </a:p>
        </p:txBody>
      </p:sp>
      <p:sp>
        <p:nvSpPr>
          <p:cNvPr id="6" name="Text Placeholder 5"/>
          <p:cNvSpPr>
            <a:spLocks noGrp="1"/>
          </p:cNvSpPr>
          <p:nvPr>
            <p:ph type="body" sz="quarter" idx="10"/>
          </p:nvPr>
        </p:nvSpPr>
        <p:spPr>
          <a:xfrm>
            <a:off x="269303" y="1187963"/>
            <a:ext cx="11655078" cy="3217804"/>
          </a:xfrm>
        </p:spPr>
        <p:txBody>
          <a:bodyPr/>
          <a:lstStyle/>
          <a:p>
            <a:pPr fontAlgn="ctr"/>
            <a:r>
              <a:rPr lang="en-US" sz="2800" dirty="0">
                <a:solidFill>
                  <a:schemeClr val="bg2"/>
                </a:solidFill>
              </a:rPr>
              <a:t>Rise of conversation-based applications</a:t>
            </a:r>
          </a:p>
          <a:p>
            <a:pPr fontAlgn="ctr"/>
            <a:r>
              <a:rPr lang="en-US" sz="2800" dirty="0">
                <a:solidFill>
                  <a:schemeClr val="bg2"/>
                </a:solidFill>
              </a:rPr>
              <a:t>Need to extract meaning from context</a:t>
            </a:r>
          </a:p>
          <a:p>
            <a:pPr fontAlgn="ctr"/>
            <a:r>
              <a:rPr lang="en-US" sz="2800" dirty="0">
                <a:solidFill>
                  <a:schemeClr val="bg2"/>
                </a:solidFill>
              </a:rPr>
              <a:t>Problem</a:t>
            </a:r>
          </a:p>
          <a:p>
            <a:pPr lvl="1" fontAlgn="ctr"/>
            <a:r>
              <a:rPr lang="en-US" sz="2400" dirty="0">
                <a:solidFill>
                  <a:schemeClr val="bg2"/>
                </a:solidFill>
              </a:rPr>
              <a:t>We are not all data scientists, but we all need to be able to integrate NLU into our applications</a:t>
            </a:r>
          </a:p>
          <a:p>
            <a:pPr fontAlgn="ctr"/>
            <a:endParaRPr lang="en-US" sz="2800" dirty="0">
              <a:solidFill>
                <a:schemeClr val="bg2"/>
              </a:solidFill>
            </a:endParaRPr>
          </a:p>
          <a:p>
            <a:pPr fontAlgn="ctr"/>
            <a:endParaRPr lang="en-US" sz="2800" dirty="0">
              <a:solidFill>
                <a:schemeClr val="bg2"/>
              </a:solidFill>
            </a:endParaRPr>
          </a:p>
        </p:txBody>
      </p:sp>
      <p:sp>
        <p:nvSpPr>
          <p:cNvPr id="4" name="Rectangle 3">
            <a:extLst>
              <a:ext uri="{FF2B5EF4-FFF2-40B4-BE49-F238E27FC236}">
                <a16:creationId xmlns:a16="http://schemas.microsoft.com/office/drawing/2014/main" id="{94EAC7F2-10C7-4889-86A3-AE7C96950C1E}"/>
              </a:ext>
            </a:extLst>
          </p:cNvPr>
          <p:cNvSpPr/>
          <p:nvPr/>
        </p:nvSpPr>
        <p:spPr>
          <a:xfrm>
            <a:off x="269240" y="6289751"/>
            <a:ext cx="4880093" cy="369332"/>
          </a:xfrm>
          <a:prstGeom prst="rect">
            <a:avLst/>
          </a:prstGeom>
        </p:spPr>
        <p:txBody>
          <a:bodyPr wrap="square">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8D7"/>
                </a:solidFill>
                <a:effectLst/>
                <a:uLnTx/>
                <a:uFillTx/>
                <a:latin typeface="Segoe UI Semilight"/>
                <a:ea typeface="+mn-ea"/>
                <a:cs typeface="+mn-cs"/>
              </a:rPr>
              <a:t>Background</a:t>
            </a:r>
          </a:p>
        </p:txBody>
      </p:sp>
    </p:spTree>
    <p:extLst>
      <p:ext uri="{BB962C8B-B14F-4D97-AF65-F5344CB8AC3E}">
        <p14:creationId xmlns:p14="http://schemas.microsoft.com/office/powerpoint/2010/main" val="1025884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a:xfrm>
            <a:off x="269240" y="289511"/>
            <a:ext cx="11655840" cy="1386889"/>
          </a:xfrm>
        </p:spPr>
        <p:txBody>
          <a:bodyPr/>
          <a:lstStyle/>
          <a:p>
            <a:r>
              <a:rPr lang="en-US" dirty="0">
                <a:solidFill>
                  <a:schemeClr val="bg2"/>
                </a:solidFill>
              </a:rPr>
              <a:t>Microsoft's Language Understanding Intelligent Service (LUIS)</a:t>
            </a:r>
          </a:p>
        </p:txBody>
      </p:sp>
      <p:sp>
        <p:nvSpPr>
          <p:cNvPr id="6" name="Text Placeholder 5"/>
          <p:cNvSpPr>
            <a:spLocks noGrp="1"/>
          </p:cNvSpPr>
          <p:nvPr>
            <p:ph type="body" sz="quarter" idx="10"/>
          </p:nvPr>
        </p:nvSpPr>
        <p:spPr>
          <a:xfrm>
            <a:off x="268461" y="1676400"/>
            <a:ext cx="11655078" cy="1918987"/>
          </a:xfrm>
        </p:spPr>
        <p:txBody>
          <a:bodyPr/>
          <a:lstStyle/>
          <a:p>
            <a:pPr fontAlgn="ctr"/>
            <a:r>
              <a:rPr lang="en-US" sz="2800" dirty="0">
                <a:solidFill>
                  <a:schemeClr val="bg2"/>
                </a:solidFill>
              </a:rPr>
              <a:t>A machine learning-based service to build natural language understanding into apps, bots, and IoT devices </a:t>
            </a:r>
          </a:p>
          <a:p>
            <a:pPr fontAlgn="ctr"/>
            <a:r>
              <a:rPr lang="en-US" sz="2800" dirty="0">
                <a:solidFill>
                  <a:schemeClr val="bg2"/>
                </a:solidFill>
              </a:rPr>
              <a:t>Quickly create enterprise-ready, custom models that continuously improve</a:t>
            </a:r>
          </a:p>
          <a:p>
            <a:pPr fontAlgn="ctr"/>
            <a:r>
              <a:rPr lang="en-US" sz="2800" dirty="0">
                <a:solidFill>
                  <a:schemeClr val="bg2"/>
                </a:solidFill>
              </a:rPr>
              <a:t>Can configure with a rich UI or programmatically</a:t>
            </a:r>
            <a:endParaRPr lang="en-US" sz="1800" dirty="0">
              <a:solidFill>
                <a:schemeClr val="bg2"/>
              </a:solidFill>
            </a:endParaRPr>
          </a:p>
        </p:txBody>
      </p:sp>
      <p:sp>
        <p:nvSpPr>
          <p:cNvPr id="4" name="Rectangle 3">
            <a:extLst>
              <a:ext uri="{FF2B5EF4-FFF2-40B4-BE49-F238E27FC236}">
                <a16:creationId xmlns:a16="http://schemas.microsoft.com/office/drawing/2014/main" id="{A4C1E1E0-90B5-436B-8549-6CBD5A20135F}"/>
              </a:ext>
            </a:extLst>
          </p:cNvPr>
          <p:cNvSpPr/>
          <p:nvPr/>
        </p:nvSpPr>
        <p:spPr>
          <a:xfrm>
            <a:off x="269240" y="6289751"/>
            <a:ext cx="4880093" cy="369332"/>
          </a:xfrm>
          <a:prstGeom prst="rect">
            <a:avLst/>
          </a:prstGeom>
        </p:spPr>
        <p:txBody>
          <a:bodyPr wrap="square">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8D7"/>
                </a:solidFill>
                <a:effectLst/>
                <a:uLnTx/>
                <a:uFillTx/>
                <a:latin typeface="Segoe UI Semilight"/>
                <a:ea typeface="+mn-ea"/>
                <a:cs typeface="+mn-cs"/>
              </a:rPr>
              <a:t>Background</a:t>
            </a:r>
          </a:p>
        </p:txBody>
      </p:sp>
    </p:spTree>
    <p:extLst>
      <p:ext uri="{BB962C8B-B14F-4D97-AF65-F5344CB8AC3E}">
        <p14:creationId xmlns:p14="http://schemas.microsoft.com/office/powerpoint/2010/main" val="3937925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Developing LUIS Models</a:t>
            </a:r>
          </a:p>
        </p:txBody>
      </p:sp>
      <p:sp>
        <p:nvSpPr>
          <p:cNvPr id="6" name="Text Placeholder 5"/>
          <p:cNvSpPr>
            <a:spLocks noGrp="1"/>
          </p:cNvSpPr>
          <p:nvPr>
            <p:ph type="body" sz="quarter" idx="10"/>
          </p:nvPr>
        </p:nvSpPr>
        <p:spPr>
          <a:xfrm>
            <a:off x="269303" y="1187963"/>
            <a:ext cx="11655078" cy="3427092"/>
          </a:xfrm>
        </p:spPr>
        <p:txBody>
          <a:bodyPr/>
          <a:lstStyle/>
          <a:p>
            <a:pPr fontAlgn="ctr"/>
            <a:r>
              <a:rPr lang="en-US" sz="2800" dirty="0"/>
              <a:t>Intents</a:t>
            </a:r>
          </a:p>
          <a:p>
            <a:pPr fontAlgn="ctr"/>
            <a:r>
              <a:rPr lang="en-US" sz="2800" dirty="0"/>
              <a:t>Utterances</a:t>
            </a:r>
          </a:p>
          <a:p>
            <a:pPr fontAlgn="ctr"/>
            <a:r>
              <a:rPr lang="en-US" sz="2800" dirty="0"/>
              <a:t>Entities</a:t>
            </a:r>
          </a:p>
          <a:p>
            <a:pPr fontAlgn="ctr"/>
            <a:r>
              <a:rPr lang="en-US" sz="2800" dirty="0"/>
              <a:t>Training and testing</a:t>
            </a:r>
          </a:p>
          <a:p>
            <a:pPr fontAlgn="ctr"/>
            <a:r>
              <a:rPr lang="en-US" sz="2800" dirty="0"/>
              <a:t>Publishing</a:t>
            </a:r>
          </a:p>
          <a:p>
            <a:pPr fontAlgn="ctr"/>
            <a:r>
              <a:rPr lang="en-US" sz="2800" dirty="0"/>
              <a:t>Features/Patterns</a:t>
            </a:r>
          </a:p>
          <a:p>
            <a:pPr fontAlgn="ctr"/>
            <a:r>
              <a:rPr lang="en-US" sz="2800" dirty="0"/>
              <a:t>Active learning</a:t>
            </a:r>
          </a:p>
        </p:txBody>
      </p:sp>
    </p:spTree>
    <p:extLst>
      <p:ext uri="{BB962C8B-B14F-4D97-AF65-F5344CB8AC3E}">
        <p14:creationId xmlns:p14="http://schemas.microsoft.com/office/powerpoint/2010/main" val="1079497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solidFill>
                  <a:schemeClr val="bg2"/>
                </a:solidFill>
              </a:rPr>
              <a:t>Key LUIS concepts</a:t>
            </a:r>
          </a:p>
        </p:txBody>
      </p:sp>
      <p:sp>
        <p:nvSpPr>
          <p:cNvPr id="6" name="Text Placeholder 5"/>
          <p:cNvSpPr>
            <a:spLocks noGrp="1"/>
          </p:cNvSpPr>
          <p:nvPr>
            <p:ph type="body" sz="quarter" idx="10"/>
          </p:nvPr>
        </p:nvSpPr>
        <p:spPr>
          <a:xfrm>
            <a:off x="269303" y="1187963"/>
            <a:ext cx="11655078" cy="3154710"/>
          </a:xfrm>
        </p:spPr>
        <p:txBody>
          <a:bodyPr/>
          <a:lstStyle/>
          <a:p>
            <a:pPr fontAlgn="ctr"/>
            <a:r>
              <a:rPr lang="en-US" sz="2800" dirty="0">
                <a:solidFill>
                  <a:schemeClr val="bg2"/>
                </a:solidFill>
              </a:rPr>
              <a:t>Intents</a:t>
            </a:r>
          </a:p>
          <a:p>
            <a:pPr lvl="1" fontAlgn="ctr"/>
            <a:r>
              <a:rPr lang="en-US" sz="2400" dirty="0">
                <a:solidFill>
                  <a:schemeClr val="bg2"/>
                </a:solidFill>
              </a:rPr>
              <a:t>Actions the user wants to perform</a:t>
            </a:r>
          </a:p>
          <a:p>
            <a:pPr fontAlgn="ctr"/>
            <a:r>
              <a:rPr lang="en-US" sz="2800" dirty="0">
                <a:solidFill>
                  <a:schemeClr val="bg2"/>
                </a:solidFill>
              </a:rPr>
              <a:t>Utterances</a:t>
            </a:r>
          </a:p>
          <a:p>
            <a:pPr lvl="1" fontAlgn="ctr"/>
            <a:r>
              <a:rPr lang="en-US" sz="2400" dirty="0">
                <a:solidFill>
                  <a:schemeClr val="bg2"/>
                </a:solidFill>
              </a:rPr>
              <a:t>Text input from a user your app needs to understand</a:t>
            </a:r>
          </a:p>
          <a:p>
            <a:pPr fontAlgn="ctr"/>
            <a:r>
              <a:rPr lang="en-US" sz="2800" dirty="0">
                <a:solidFill>
                  <a:schemeClr val="bg2"/>
                </a:solidFill>
              </a:rPr>
              <a:t>Entities</a:t>
            </a:r>
          </a:p>
          <a:p>
            <a:pPr lvl="1" fontAlgn="ctr"/>
            <a:r>
              <a:rPr lang="en-US" sz="2400" dirty="0">
                <a:solidFill>
                  <a:schemeClr val="bg2"/>
                </a:solidFill>
              </a:rPr>
              <a:t>Detailed information that is relevant to the utterance</a:t>
            </a:r>
          </a:p>
          <a:p>
            <a:pPr lvl="1" fontAlgn="ctr"/>
            <a:endParaRPr lang="en-US" sz="2400" dirty="0">
              <a:solidFill>
                <a:schemeClr val="bg2"/>
              </a:solidFill>
            </a:endParaRPr>
          </a:p>
        </p:txBody>
      </p:sp>
      <p:graphicFrame>
        <p:nvGraphicFramePr>
          <p:cNvPr id="3" name="Table 2">
            <a:extLst>
              <a:ext uri="{FF2B5EF4-FFF2-40B4-BE49-F238E27FC236}">
                <a16:creationId xmlns:a16="http://schemas.microsoft.com/office/drawing/2014/main" id="{A0AADE41-4A7D-4CF2-95CD-C228646D3377}"/>
              </a:ext>
            </a:extLst>
          </p:cNvPr>
          <p:cNvGraphicFramePr>
            <a:graphicFrameLocks noGrp="1"/>
          </p:cNvGraphicFramePr>
          <p:nvPr>
            <p:extLst/>
          </p:nvPr>
        </p:nvGraphicFramePr>
        <p:xfrm>
          <a:off x="1512806" y="4342673"/>
          <a:ext cx="8770320" cy="1741932"/>
        </p:xfrm>
        <a:graphic>
          <a:graphicData uri="http://schemas.openxmlformats.org/drawingml/2006/table">
            <a:tbl>
              <a:tblPr firstRow="1" bandRow="1">
                <a:tableStyleId>{5C22544A-7EE6-4342-B048-85BDC9FD1C3A}</a:tableStyleId>
              </a:tblPr>
              <a:tblGrid>
                <a:gridCol w="2923440">
                  <a:extLst>
                    <a:ext uri="{9D8B030D-6E8A-4147-A177-3AD203B41FA5}">
                      <a16:colId xmlns:a16="http://schemas.microsoft.com/office/drawing/2014/main" val="1705052969"/>
                    </a:ext>
                  </a:extLst>
                </a:gridCol>
                <a:gridCol w="3739109">
                  <a:extLst>
                    <a:ext uri="{9D8B030D-6E8A-4147-A177-3AD203B41FA5}">
                      <a16:colId xmlns:a16="http://schemas.microsoft.com/office/drawing/2014/main" val="4272089051"/>
                    </a:ext>
                  </a:extLst>
                </a:gridCol>
                <a:gridCol w="2107771">
                  <a:extLst>
                    <a:ext uri="{9D8B030D-6E8A-4147-A177-3AD203B41FA5}">
                      <a16:colId xmlns:a16="http://schemas.microsoft.com/office/drawing/2014/main" val="3889869849"/>
                    </a:ext>
                  </a:extLst>
                </a:gridCol>
              </a:tblGrid>
              <a:tr h="370840">
                <a:tc>
                  <a:txBody>
                    <a:bodyPr/>
                    <a:lstStyle/>
                    <a:p>
                      <a:r>
                        <a:rPr lang="en-US" dirty="0"/>
                        <a:t>Intent</a:t>
                      </a:r>
                    </a:p>
                  </a:txBody>
                  <a:tcPr/>
                </a:tc>
                <a:tc>
                  <a:txBody>
                    <a:bodyPr/>
                    <a:lstStyle/>
                    <a:p>
                      <a:r>
                        <a:rPr lang="en-US" dirty="0"/>
                        <a:t>Sample user utterance</a:t>
                      </a:r>
                    </a:p>
                  </a:txBody>
                  <a:tcPr/>
                </a:tc>
                <a:tc>
                  <a:txBody>
                    <a:bodyPr/>
                    <a:lstStyle/>
                    <a:p>
                      <a:r>
                        <a:rPr lang="en-US" dirty="0"/>
                        <a:t>Entities</a:t>
                      </a:r>
                    </a:p>
                  </a:txBody>
                  <a:tcPr/>
                </a:tc>
                <a:extLst>
                  <a:ext uri="{0D108BD9-81ED-4DB2-BD59-A6C34878D82A}">
                    <a16:rowId xmlns:a16="http://schemas.microsoft.com/office/drawing/2014/main" val="568740084"/>
                  </a:ext>
                </a:extLst>
              </a:tr>
              <a:tr h="370840">
                <a:tc>
                  <a:txBody>
                    <a:bodyPr/>
                    <a:lstStyle/>
                    <a:p>
                      <a:r>
                        <a:rPr lang="en-US" dirty="0" err="1"/>
                        <a:t>BookFlight</a:t>
                      </a:r>
                      <a:endParaRPr lang="en-US" dirty="0"/>
                    </a:p>
                  </a:txBody>
                  <a:tcPr/>
                </a:tc>
                <a:tc>
                  <a:txBody>
                    <a:bodyPr/>
                    <a:lstStyle/>
                    <a:p>
                      <a:r>
                        <a:rPr lang="en-US" dirty="0"/>
                        <a:t>“Book a flight to </a:t>
                      </a:r>
                      <a:r>
                        <a:rPr lang="en-US" b="1" dirty="0"/>
                        <a:t>Seattle</a:t>
                      </a:r>
                      <a:r>
                        <a:rPr lang="en-US" dirty="0"/>
                        <a:t>?”</a:t>
                      </a:r>
                    </a:p>
                  </a:txBody>
                  <a:tcPr/>
                </a:tc>
                <a:tc>
                  <a:txBody>
                    <a:bodyPr/>
                    <a:lstStyle/>
                    <a:p>
                      <a:r>
                        <a:rPr lang="en-US" dirty="0"/>
                        <a:t>Seattle</a:t>
                      </a:r>
                    </a:p>
                  </a:txBody>
                  <a:tcPr/>
                </a:tc>
                <a:extLst>
                  <a:ext uri="{0D108BD9-81ED-4DB2-BD59-A6C34878D82A}">
                    <a16:rowId xmlns:a16="http://schemas.microsoft.com/office/drawing/2014/main" val="537755736"/>
                  </a:ext>
                </a:extLst>
              </a:tr>
              <a:tr h="370840">
                <a:tc>
                  <a:txBody>
                    <a:bodyPr/>
                    <a:lstStyle/>
                    <a:p>
                      <a:r>
                        <a:rPr lang="en-US" dirty="0" err="1"/>
                        <a:t>StoreHoursAndLocation</a:t>
                      </a:r>
                      <a:endParaRPr lang="en-US" dirty="0"/>
                    </a:p>
                  </a:txBody>
                  <a:tcPr/>
                </a:tc>
                <a:tc>
                  <a:txBody>
                    <a:bodyPr/>
                    <a:lstStyle/>
                    <a:p>
                      <a:r>
                        <a:rPr lang="en-US" dirty="0"/>
                        <a:t>“When does your store </a:t>
                      </a:r>
                      <a:r>
                        <a:rPr lang="en-US" b="1" dirty="0"/>
                        <a:t>open</a:t>
                      </a:r>
                      <a:r>
                        <a:rPr lang="en-US" dirty="0"/>
                        <a:t>?”</a:t>
                      </a:r>
                    </a:p>
                  </a:txBody>
                  <a:tcPr/>
                </a:tc>
                <a:tc>
                  <a:txBody>
                    <a:bodyPr/>
                    <a:lstStyle/>
                    <a:p>
                      <a:r>
                        <a:rPr lang="en-US" dirty="0"/>
                        <a:t>open</a:t>
                      </a:r>
                    </a:p>
                  </a:txBody>
                  <a:tcPr/>
                </a:tc>
                <a:extLst>
                  <a:ext uri="{0D108BD9-81ED-4DB2-BD59-A6C34878D82A}">
                    <a16:rowId xmlns:a16="http://schemas.microsoft.com/office/drawing/2014/main" val="4263627490"/>
                  </a:ext>
                </a:extLst>
              </a:tr>
              <a:tr h="370840">
                <a:tc>
                  <a:txBody>
                    <a:bodyPr/>
                    <a:lstStyle/>
                    <a:p>
                      <a:r>
                        <a:rPr lang="en-US" dirty="0" err="1"/>
                        <a:t>ScheduleMeeting</a:t>
                      </a:r>
                      <a:endParaRPr lang="en-US" dirty="0"/>
                    </a:p>
                  </a:txBody>
                  <a:tcPr/>
                </a:tc>
                <a:tc>
                  <a:txBody>
                    <a:bodyPr/>
                    <a:lstStyle/>
                    <a:p>
                      <a:r>
                        <a:rPr lang="en-US" dirty="0"/>
                        <a:t>“Schedule a meeting at </a:t>
                      </a:r>
                      <a:r>
                        <a:rPr lang="en-US" b="1" dirty="0"/>
                        <a:t>1PM</a:t>
                      </a:r>
                      <a:r>
                        <a:rPr lang="en-US" dirty="0"/>
                        <a:t> with </a:t>
                      </a:r>
                      <a:r>
                        <a:rPr lang="en-US" b="1" dirty="0"/>
                        <a:t>Bob</a:t>
                      </a:r>
                      <a:r>
                        <a:rPr lang="en-US" dirty="0"/>
                        <a:t> in Distribution”</a:t>
                      </a:r>
                    </a:p>
                  </a:txBody>
                  <a:tcPr/>
                </a:tc>
                <a:tc>
                  <a:txBody>
                    <a:bodyPr/>
                    <a:lstStyle/>
                    <a:p>
                      <a:r>
                        <a:rPr lang="en-US" dirty="0"/>
                        <a:t>1PM, Bob</a:t>
                      </a:r>
                    </a:p>
                  </a:txBody>
                  <a:tcPr/>
                </a:tc>
                <a:extLst>
                  <a:ext uri="{0D108BD9-81ED-4DB2-BD59-A6C34878D82A}">
                    <a16:rowId xmlns:a16="http://schemas.microsoft.com/office/drawing/2014/main" val="2668409926"/>
                  </a:ext>
                </a:extLst>
              </a:tr>
            </a:tbl>
          </a:graphicData>
        </a:graphic>
      </p:graphicFrame>
      <p:sp>
        <p:nvSpPr>
          <p:cNvPr id="4" name="Rectangle 3">
            <a:extLst>
              <a:ext uri="{FF2B5EF4-FFF2-40B4-BE49-F238E27FC236}">
                <a16:creationId xmlns:a16="http://schemas.microsoft.com/office/drawing/2014/main" id="{A3837977-B1B1-4995-A54C-8F0ADF3DC799}"/>
              </a:ext>
            </a:extLst>
          </p:cNvPr>
          <p:cNvSpPr/>
          <p:nvPr/>
        </p:nvSpPr>
        <p:spPr>
          <a:xfrm>
            <a:off x="269240" y="6289751"/>
            <a:ext cx="4880093" cy="369332"/>
          </a:xfrm>
          <a:prstGeom prst="rect">
            <a:avLst/>
          </a:prstGeom>
        </p:spPr>
        <p:txBody>
          <a:bodyPr wrap="square">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8D7"/>
                </a:solidFill>
                <a:effectLst/>
                <a:uLnTx/>
                <a:uFillTx/>
                <a:latin typeface="Segoe UI Semilight"/>
                <a:ea typeface="+mn-ea"/>
                <a:cs typeface="+mn-cs"/>
              </a:rPr>
              <a:t>Developing LUIS models</a:t>
            </a:r>
          </a:p>
        </p:txBody>
      </p:sp>
    </p:spTree>
    <p:extLst>
      <p:ext uri="{BB962C8B-B14F-4D97-AF65-F5344CB8AC3E}">
        <p14:creationId xmlns:p14="http://schemas.microsoft.com/office/powerpoint/2010/main" val="1814107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solidFill>
                  <a:schemeClr val="bg2"/>
                </a:solidFill>
              </a:rPr>
              <a:t>Key LUIS concepts</a:t>
            </a:r>
          </a:p>
        </p:txBody>
      </p:sp>
      <p:sp>
        <p:nvSpPr>
          <p:cNvPr id="4" name="Rectangle 3">
            <a:extLst>
              <a:ext uri="{FF2B5EF4-FFF2-40B4-BE49-F238E27FC236}">
                <a16:creationId xmlns:a16="http://schemas.microsoft.com/office/drawing/2014/main" id="{A3837977-B1B1-4995-A54C-8F0ADF3DC799}"/>
              </a:ext>
            </a:extLst>
          </p:cNvPr>
          <p:cNvSpPr/>
          <p:nvPr/>
        </p:nvSpPr>
        <p:spPr>
          <a:xfrm>
            <a:off x="269240" y="6289751"/>
            <a:ext cx="4880093" cy="369332"/>
          </a:xfrm>
          <a:prstGeom prst="rect">
            <a:avLst/>
          </a:prstGeom>
        </p:spPr>
        <p:txBody>
          <a:bodyPr wrap="square">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8D7"/>
                </a:solidFill>
                <a:effectLst/>
                <a:uLnTx/>
                <a:uFillTx/>
                <a:latin typeface="Segoe UI Semilight"/>
                <a:ea typeface="+mn-ea"/>
                <a:cs typeface="+mn-cs"/>
              </a:rPr>
              <a:t>Developing LUIS models</a:t>
            </a:r>
          </a:p>
        </p:txBody>
      </p:sp>
      <p:sp>
        <p:nvSpPr>
          <p:cNvPr id="5" name="Text Placeholder 4">
            <a:extLst>
              <a:ext uri="{FF2B5EF4-FFF2-40B4-BE49-F238E27FC236}">
                <a16:creationId xmlns:a16="http://schemas.microsoft.com/office/drawing/2014/main" id="{A0813829-4E60-4C71-8971-E1313CE6A1E2}"/>
              </a:ext>
            </a:extLst>
          </p:cNvPr>
          <p:cNvSpPr>
            <a:spLocks noGrp="1"/>
          </p:cNvSpPr>
          <p:nvPr>
            <p:ph type="body" sz="quarter" idx="10"/>
          </p:nvPr>
        </p:nvSpPr>
        <p:spPr>
          <a:xfrm>
            <a:off x="269239" y="1189177"/>
            <a:ext cx="11653523" cy="2468368"/>
          </a:xfrm>
        </p:spPr>
        <p:txBody>
          <a:bodyPr/>
          <a:lstStyle/>
          <a:p>
            <a:r>
              <a:rPr lang="en-US" sz="2800" dirty="0">
                <a:solidFill>
                  <a:schemeClr val="bg2"/>
                </a:solidFill>
              </a:rPr>
              <a:t>Simple entities</a:t>
            </a:r>
          </a:p>
          <a:p>
            <a:r>
              <a:rPr lang="en-US" sz="2800" dirty="0">
                <a:solidFill>
                  <a:schemeClr val="bg2"/>
                </a:solidFill>
              </a:rPr>
              <a:t>Hierarchical entities</a:t>
            </a:r>
          </a:p>
          <a:p>
            <a:r>
              <a:rPr lang="en-US" sz="2800" dirty="0">
                <a:solidFill>
                  <a:schemeClr val="bg2"/>
                </a:solidFill>
              </a:rPr>
              <a:t>Composite entities</a:t>
            </a:r>
          </a:p>
          <a:p>
            <a:r>
              <a:rPr lang="en-US" sz="2800" dirty="0">
                <a:solidFill>
                  <a:schemeClr val="bg2"/>
                </a:solidFill>
              </a:rPr>
              <a:t>Prebuilt entities</a:t>
            </a:r>
          </a:p>
          <a:p>
            <a:r>
              <a:rPr lang="en-US" sz="2800" dirty="0">
                <a:solidFill>
                  <a:schemeClr val="bg2"/>
                </a:solidFill>
              </a:rPr>
              <a:t>List entities</a:t>
            </a:r>
          </a:p>
        </p:txBody>
      </p:sp>
      <p:pic>
        <p:nvPicPr>
          <p:cNvPr id="8" name="Picture 7" descr="A screenshot of a cell phone&#10;&#10;Description generated with very high confidence">
            <a:extLst>
              <a:ext uri="{FF2B5EF4-FFF2-40B4-BE49-F238E27FC236}">
                <a16:creationId xmlns:a16="http://schemas.microsoft.com/office/drawing/2014/main" id="{73573B4B-07A4-4D10-9C5C-6C70BFAA874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07445" y="2111644"/>
            <a:ext cx="4214954" cy="1491004"/>
          </a:xfrm>
          <a:prstGeom prst="rect">
            <a:avLst/>
          </a:prstGeom>
        </p:spPr>
      </p:pic>
      <p:pic>
        <p:nvPicPr>
          <p:cNvPr id="10" name="Picture 9" descr="A screenshot of a cell phone&#10;&#10;Description generated with very high confidence">
            <a:extLst>
              <a:ext uri="{FF2B5EF4-FFF2-40B4-BE49-F238E27FC236}">
                <a16:creationId xmlns:a16="http://schemas.microsoft.com/office/drawing/2014/main" id="{CECC698B-1BDC-47F6-8D5B-021F8AB8219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90972" y="1873189"/>
            <a:ext cx="5868666" cy="2092414"/>
          </a:xfrm>
          <a:prstGeom prst="rect">
            <a:avLst/>
          </a:prstGeom>
        </p:spPr>
      </p:pic>
      <p:pic>
        <p:nvPicPr>
          <p:cNvPr id="12" name="Picture 11" descr="A screenshot of a cell phone&#10;&#10;Description generated with very high confidence">
            <a:extLst>
              <a:ext uri="{FF2B5EF4-FFF2-40B4-BE49-F238E27FC236}">
                <a16:creationId xmlns:a16="http://schemas.microsoft.com/office/drawing/2014/main" id="{DEC95476-56DD-4EE4-8B61-2CDF687A512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141331" y="1727615"/>
            <a:ext cx="6579620" cy="2962938"/>
          </a:xfrm>
          <a:prstGeom prst="rect">
            <a:avLst/>
          </a:prstGeom>
        </p:spPr>
      </p:pic>
      <p:pic>
        <p:nvPicPr>
          <p:cNvPr id="14" name="Picture 13" descr="A screenshot of a cell phone&#10;&#10;Description generated with very high confidence">
            <a:extLst>
              <a:ext uri="{FF2B5EF4-FFF2-40B4-BE49-F238E27FC236}">
                <a16:creationId xmlns:a16="http://schemas.microsoft.com/office/drawing/2014/main" id="{25D85238-095A-4310-8998-BA1D66AF2A5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072184" y="1727582"/>
            <a:ext cx="1747896" cy="2121584"/>
          </a:xfrm>
          <a:prstGeom prst="rect">
            <a:avLst/>
          </a:prstGeom>
        </p:spPr>
      </p:pic>
      <p:pic>
        <p:nvPicPr>
          <p:cNvPr id="15" name="Picture 14">
            <a:extLst>
              <a:ext uri="{FF2B5EF4-FFF2-40B4-BE49-F238E27FC236}">
                <a16:creationId xmlns:a16="http://schemas.microsoft.com/office/drawing/2014/main" id="{D04AF757-BE59-415B-9C55-B0C2EAC3AE07}"/>
              </a:ext>
            </a:extLst>
          </p:cNvPr>
          <p:cNvPicPr>
            <a:picLocks noChangeAspect="1"/>
          </p:cNvPicPr>
          <p:nvPr/>
        </p:nvPicPr>
        <p:blipFill>
          <a:blip r:embed="rId7"/>
          <a:stretch>
            <a:fillRect/>
          </a:stretch>
        </p:blipFill>
        <p:spPr>
          <a:xfrm>
            <a:off x="5820080" y="544915"/>
            <a:ext cx="3422371" cy="5768169"/>
          </a:xfrm>
          <a:prstGeom prst="rect">
            <a:avLst/>
          </a:prstGeom>
        </p:spPr>
      </p:pic>
      <p:pic>
        <p:nvPicPr>
          <p:cNvPr id="18" name="Picture 17" descr="A screenshot of a computer screen&#10;&#10;Description generated with very high confidence">
            <a:extLst>
              <a:ext uri="{FF2B5EF4-FFF2-40B4-BE49-F238E27FC236}">
                <a16:creationId xmlns:a16="http://schemas.microsoft.com/office/drawing/2014/main" id="{BAD28232-98EA-4930-84D1-762205675F0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888471" y="1404461"/>
            <a:ext cx="8034291" cy="4281818"/>
          </a:xfrm>
          <a:prstGeom prst="rect">
            <a:avLst/>
          </a:prstGeom>
        </p:spPr>
      </p:pic>
      <p:pic>
        <p:nvPicPr>
          <p:cNvPr id="20" name="Picture 19" descr="A screenshot of a cell phone&#10;&#10;Description generated with high confidence">
            <a:extLst>
              <a:ext uri="{FF2B5EF4-FFF2-40B4-BE49-F238E27FC236}">
                <a16:creationId xmlns:a16="http://schemas.microsoft.com/office/drawing/2014/main" id="{9439A9AE-B081-4E4E-BA42-1EA8E06188D7}"/>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163157" y="2431945"/>
            <a:ext cx="4946462" cy="1588075"/>
          </a:xfrm>
          <a:prstGeom prst="rect">
            <a:avLst/>
          </a:prstGeom>
        </p:spPr>
      </p:pic>
    </p:spTree>
    <p:extLst>
      <p:ext uri="{BB962C8B-B14F-4D97-AF65-F5344CB8AC3E}">
        <p14:creationId xmlns:p14="http://schemas.microsoft.com/office/powerpoint/2010/main" val="1903700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nodeType="clickEffect">
                                  <p:stCondLst>
                                    <p:cond delay="0"/>
                                  </p:stCondLst>
                                  <p:childTnLst>
                                    <p:set>
                                      <p:cBhvr>
                                        <p:cTn id="10" dur="1" fill="hold">
                                          <p:stCondLst>
                                            <p:cond delay="0"/>
                                          </p:stCondLst>
                                        </p:cTn>
                                        <p:tgtEl>
                                          <p:spTgt spid="8"/>
                                        </p:tgtEl>
                                        <p:attrNameLst>
                                          <p:attrName>style.visibility</p:attrName>
                                        </p:attrNameLst>
                                      </p:cBhvr>
                                      <p:to>
                                        <p:strVal val="hidden"/>
                                      </p:to>
                                    </p:set>
                                  </p:childTnLst>
                                </p:cTn>
                              </p:par>
                              <p:par>
                                <p:cTn id="11" presetID="1"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nodeType="clickEffect">
                                  <p:stCondLst>
                                    <p:cond delay="0"/>
                                  </p:stCondLst>
                                  <p:childTnLst>
                                    <p:set>
                                      <p:cBhvr>
                                        <p:cTn id="16" dur="1" fill="hold">
                                          <p:stCondLst>
                                            <p:cond delay="0"/>
                                          </p:stCondLst>
                                        </p:cTn>
                                        <p:tgtEl>
                                          <p:spTgt spid="10"/>
                                        </p:tgtEl>
                                        <p:attrNameLst>
                                          <p:attrName>style.visibility</p:attrName>
                                        </p:attrNameLst>
                                      </p:cBhvr>
                                      <p:to>
                                        <p:strVal val="hidden"/>
                                      </p:to>
                                    </p:set>
                                  </p:childTnLst>
                                </p:cTn>
                              </p:par>
                              <p:par>
                                <p:cTn id="17" presetID="1" presetClass="entr" presetSubtype="0" fill="hold" nodeType="with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4"/>
                                        </p:tgtEl>
                                        <p:attrNameLst>
                                          <p:attrName>style.visibility</p:attrName>
                                        </p:attrNameLst>
                                      </p:cBhvr>
                                      <p:to>
                                        <p:strVal val="visible"/>
                                      </p:to>
                                    </p:set>
                                  </p:childTnLst>
                                </p:cTn>
                              </p:par>
                              <p:par>
                                <p:cTn id="23" presetID="1" presetClass="exit" presetSubtype="0" fill="hold" nodeType="withEffect">
                                  <p:stCondLst>
                                    <p:cond delay="0"/>
                                  </p:stCondLst>
                                  <p:childTnLst>
                                    <p:set>
                                      <p:cBhvr>
                                        <p:cTn id="24" dur="1" fill="hold">
                                          <p:stCondLst>
                                            <p:cond delay="0"/>
                                          </p:stCondLst>
                                        </p:cTn>
                                        <p:tgtEl>
                                          <p:spTgt spid="12"/>
                                        </p:tgtEl>
                                        <p:attrNameLst>
                                          <p:attrName>style.visibility</p:attrName>
                                        </p:attrNameLst>
                                      </p:cBhvr>
                                      <p:to>
                                        <p:strVal val="hidden"/>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15"/>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18"/>
                                        </p:tgtEl>
                                        <p:attrNameLst>
                                          <p:attrName>style.visibility</p:attrName>
                                        </p:attrNameLst>
                                      </p:cBhvr>
                                      <p:to>
                                        <p:strVal val="visible"/>
                                      </p:to>
                                    </p:set>
                                  </p:childTnLst>
                                </p:cTn>
                              </p:par>
                              <p:par>
                                <p:cTn id="33" presetID="1" presetClass="exit" presetSubtype="0" fill="hold" nodeType="withEffect">
                                  <p:stCondLst>
                                    <p:cond delay="0"/>
                                  </p:stCondLst>
                                  <p:childTnLst>
                                    <p:set>
                                      <p:cBhvr>
                                        <p:cTn id="34" dur="1" fill="hold">
                                          <p:stCondLst>
                                            <p:cond delay="0"/>
                                          </p:stCondLst>
                                        </p:cTn>
                                        <p:tgtEl>
                                          <p:spTgt spid="15"/>
                                        </p:tgtEl>
                                        <p:attrNameLst>
                                          <p:attrName>style.visibility</p:attrName>
                                        </p:attrNameLst>
                                      </p:cBhvr>
                                      <p:to>
                                        <p:strVal val="hidden"/>
                                      </p:to>
                                    </p:set>
                                  </p:childTnLst>
                                </p:cTn>
                              </p:par>
                              <p:par>
                                <p:cTn id="35" presetID="1" presetClass="exit" presetSubtype="0" fill="hold" nodeType="withEffect">
                                  <p:stCondLst>
                                    <p:cond delay="0"/>
                                  </p:stCondLst>
                                  <p:childTnLst>
                                    <p:set>
                                      <p:cBhvr>
                                        <p:cTn id="36" dur="1" fill="hold">
                                          <p:stCondLst>
                                            <p:cond delay="0"/>
                                          </p:stCondLst>
                                        </p:cTn>
                                        <p:tgtEl>
                                          <p:spTgt spid="14"/>
                                        </p:tgtEl>
                                        <p:attrNameLst>
                                          <p:attrName>style.visibility</p:attrName>
                                        </p:attrNameLst>
                                      </p:cBhvr>
                                      <p:to>
                                        <p:strVal val="hidden"/>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20"/>
                                        </p:tgtEl>
                                        <p:attrNameLst>
                                          <p:attrName>style.visibility</p:attrName>
                                        </p:attrNameLst>
                                      </p:cBhvr>
                                      <p:to>
                                        <p:strVal val="visible"/>
                                      </p:to>
                                    </p:set>
                                  </p:childTnLst>
                                </p:cTn>
                              </p:par>
                              <p:par>
                                <p:cTn id="41" presetID="1" presetClass="exit" presetSubtype="0" fill="hold" nodeType="withEffect">
                                  <p:stCondLst>
                                    <p:cond delay="0"/>
                                  </p:stCondLst>
                                  <p:childTnLst>
                                    <p:set>
                                      <p:cBhvr>
                                        <p:cTn id="42" dur="1" fill="hold">
                                          <p:stCondLst>
                                            <p:cond delay="0"/>
                                          </p:stCondLst>
                                        </p:cTn>
                                        <p:tgtEl>
                                          <p:spTgt spid="1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50201_Microsoft_Ready_Template">
  <a:themeElements>
    <a:clrScheme name="Microsoft Ready + Microsoft Inspire">
      <a:dk1>
        <a:srgbClr val="1A1A1A"/>
      </a:dk1>
      <a:lt1>
        <a:srgbClr val="FFFFFF"/>
      </a:lt1>
      <a:dk2>
        <a:srgbClr val="0D0D0D"/>
      </a:dk2>
      <a:lt2>
        <a:srgbClr val="E6E6E6"/>
      </a:lt2>
      <a:accent1>
        <a:srgbClr val="0078D4"/>
      </a:accent1>
      <a:accent2>
        <a:srgbClr val="002050"/>
      </a:accent2>
      <a:accent3>
        <a:srgbClr val="737373"/>
      </a:accent3>
      <a:accent4>
        <a:srgbClr val="5C2D91"/>
      </a:accent4>
      <a:accent5>
        <a:srgbClr val="BAD80A"/>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Template.potx" id="{5F77714E-CA00-415A-8458-979F19FCEF73}" vid="{82C78859-7BB8-4D41-BFD2-BC7351C3FA4D}"/>
    </a:ext>
  </a:extLst>
</a:theme>
</file>

<file path=ppt/theme/theme10.xml><?xml version="1.0" encoding="utf-8"?>
<a:theme xmlns:a="http://schemas.openxmlformats.org/drawingml/2006/main" name="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11.xml><?xml version="1.0" encoding="utf-8"?>
<a:theme xmlns:a="http://schemas.openxmlformats.org/drawingml/2006/main" name="2_COLOR TEMPLATE">
  <a:themeElements>
    <a:clrScheme name="Custom 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002050"/>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40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12.xml><?xml version="1.0" encoding="utf-8"?>
<a:theme xmlns:a="http://schemas.openxmlformats.org/drawingml/2006/main" name="6-30537_Envision 2016 Keynote Template">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3.xml><?xml version="1.0" encoding="utf-8"?>
<a:theme xmlns:a="http://schemas.openxmlformats.org/drawingml/2006/main" name="2_2018 Architect Boot Camp">
  <a:themeElements>
    <a:clrScheme name="ICB2">
      <a:dk1>
        <a:srgbClr val="434343"/>
      </a:dk1>
      <a:lt1>
        <a:sysClr val="window" lastClr="FFFFFF"/>
      </a:lt1>
      <a:dk2>
        <a:srgbClr val="434343"/>
      </a:dk2>
      <a:lt2>
        <a:srgbClr val="B4B4B4"/>
      </a:lt2>
      <a:accent1>
        <a:srgbClr val="002050"/>
      </a:accent1>
      <a:accent2>
        <a:srgbClr val="0072C6"/>
      </a:accent2>
      <a:accent3>
        <a:srgbClr val="00BCF2"/>
      </a:accent3>
      <a:accent4>
        <a:srgbClr val="B3EBFB"/>
      </a:accent4>
      <a:accent5>
        <a:srgbClr val="B3EBFB"/>
      </a:accent5>
      <a:accent6>
        <a:srgbClr val="89C400"/>
      </a:accent6>
      <a:hlink>
        <a:srgbClr val="00B0F0"/>
      </a:hlink>
      <a:folHlink>
        <a:srgbClr val="00B0F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4.potx" id="{280B0584-D3E0-4FDF-AF7B-DC9201B1C6A4}" vid="{BD0412F3-0F64-434F-968B-D425D17D0172}"/>
    </a:ext>
  </a:extLst>
</a:theme>
</file>

<file path=ppt/theme/theme14.xml><?xml version="1.0" encoding="utf-8"?>
<a:theme xmlns:a="http://schemas.openxmlformats.org/drawingml/2006/main" name="5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15.xml><?xml version="1.0" encoding="utf-8"?>
<a:theme xmlns:a="http://schemas.openxmlformats.org/drawingml/2006/main" name="1_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018 Architect Boot Camp">
  <a:themeElements>
    <a:clrScheme name="ICB2">
      <a:dk1>
        <a:srgbClr val="434343"/>
      </a:dk1>
      <a:lt1>
        <a:sysClr val="window" lastClr="FFFFFF"/>
      </a:lt1>
      <a:dk2>
        <a:srgbClr val="434343"/>
      </a:dk2>
      <a:lt2>
        <a:srgbClr val="B4B4B4"/>
      </a:lt2>
      <a:accent1>
        <a:srgbClr val="002050"/>
      </a:accent1>
      <a:accent2>
        <a:srgbClr val="0072C6"/>
      </a:accent2>
      <a:accent3>
        <a:srgbClr val="00BCF2"/>
      </a:accent3>
      <a:accent4>
        <a:srgbClr val="B3EBFB"/>
      </a:accent4>
      <a:accent5>
        <a:srgbClr val="B3EBFB"/>
      </a:accent5>
      <a:accent6>
        <a:srgbClr val="89C400"/>
      </a:accent6>
      <a:hlink>
        <a:srgbClr val="00B0F0"/>
      </a:hlink>
      <a:folHlink>
        <a:srgbClr val="00B0F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4.potx" id="{280B0584-D3E0-4FDF-AF7B-DC9201B1C6A4}" vid="{BD0412F3-0F64-434F-968B-D425D17D0172}"/>
    </a:ext>
  </a:extLst>
</a:theme>
</file>

<file path=ppt/theme/theme3.xml><?xml version="1.0" encoding="utf-8"?>
<a:theme xmlns:a="http://schemas.openxmlformats.org/drawingml/2006/main" name="C+E Readiness Template">
  <a:themeElements>
    <a:clrScheme name="S4 Feb 2017 Dark Back">
      <a:dk1>
        <a:srgbClr val="353535"/>
      </a:dk1>
      <a:lt1>
        <a:srgbClr val="FFFFFF"/>
      </a:lt1>
      <a:dk2>
        <a:srgbClr val="0078D7"/>
      </a:dk2>
      <a:lt2>
        <a:srgbClr val="E6E6E6"/>
      </a:lt2>
      <a:accent1>
        <a:srgbClr val="00188F"/>
      </a:accent1>
      <a:accent2>
        <a:srgbClr val="002050"/>
      </a:accent2>
      <a:accent3>
        <a:srgbClr val="E6E6E6"/>
      </a:accent3>
      <a:accent4>
        <a:srgbClr val="107C10"/>
      </a:accent4>
      <a:accent5>
        <a:srgbClr val="737373"/>
      </a:accent5>
      <a:accent6>
        <a:srgbClr val="D2D2D2"/>
      </a:accent6>
      <a:hlink>
        <a:srgbClr val="FFF100"/>
      </a:hlink>
      <a:folHlink>
        <a:srgbClr val="FFF100"/>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3_FY17_Template.potx" id="{2234CBF7-E2BD-4A8C-B252-208C4EEC6E00}" vid="{F12CDBBA-5821-4B47-80F9-5CAEB4A048D0}"/>
    </a:ext>
  </a:extLst>
</a:theme>
</file>

<file path=ppt/theme/theme4.xml><?xml version="1.0" encoding="utf-8"?>
<a:theme xmlns:a="http://schemas.openxmlformats.org/drawingml/2006/main" name="WWC EMPTY">
  <a:themeElements>
    <a:clrScheme name="WWC FY17">
      <a:dk1>
        <a:srgbClr val="3C3C3C"/>
      </a:dk1>
      <a:lt1>
        <a:sysClr val="window" lastClr="FFFFFF"/>
      </a:lt1>
      <a:dk2>
        <a:srgbClr val="000000"/>
      </a:dk2>
      <a:lt2>
        <a:srgbClr val="E6E6E6"/>
      </a:lt2>
      <a:accent1>
        <a:srgbClr val="BAD80A"/>
      </a:accent1>
      <a:accent2>
        <a:srgbClr val="004B1C"/>
      </a:accent2>
      <a:accent3>
        <a:srgbClr val="0078D7"/>
      </a:accent3>
      <a:accent4>
        <a:srgbClr val="002050"/>
      </a:accent4>
      <a:accent5>
        <a:srgbClr val="FF8C00"/>
      </a:accent5>
      <a:accent6>
        <a:srgbClr val="D83B01"/>
      </a:accent6>
      <a:hlink>
        <a:srgbClr val="008272"/>
      </a:hlink>
      <a:folHlink>
        <a:srgbClr val="008272"/>
      </a:folHlink>
    </a:clrScheme>
    <a:fontScheme name="WWC FY17">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Y17 WW Communities Template.potx" id="{5ADF41DD-BB22-4DD9-BD78-F984312C14C0}" vid="{7C1406D6-88F6-47A2-A011-5BDA6638DC39}"/>
    </a:ext>
  </a:extLst>
</a:theme>
</file>

<file path=ppt/theme/theme5.xml><?xml version="1.0" encoding="utf-8"?>
<a:theme xmlns:a="http://schemas.openxmlformats.org/drawingml/2006/main" name="1_C+E Readiness Template">
  <a:themeElements>
    <a:clrScheme name="S4 Feb 2017 Dark Back">
      <a:dk1>
        <a:srgbClr val="353535"/>
      </a:dk1>
      <a:lt1>
        <a:srgbClr val="FFFFFF"/>
      </a:lt1>
      <a:dk2>
        <a:srgbClr val="0078D7"/>
      </a:dk2>
      <a:lt2>
        <a:srgbClr val="E6E6E6"/>
      </a:lt2>
      <a:accent1>
        <a:srgbClr val="00188F"/>
      </a:accent1>
      <a:accent2>
        <a:srgbClr val="002050"/>
      </a:accent2>
      <a:accent3>
        <a:srgbClr val="E6E6E6"/>
      </a:accent3>
      <a:accent4>
        <a:srgbClr val="107C10"/>
      </a:accent4>
      <a:accent5>
        <a:srgbClr val="737373"/>
      </a:accent5>
      <a:accent6>
        <a:srgbClr val="D2D2D2"/>
      </a:accent6>
      <a:hlink>
        <a:srgbClr val="FFF100"/>
      </a:hlink>
      <a:folHlink>
        <a:srgbClr val="FFF100"/>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3_FY17_Template.potx" id="{2234CBF7-E2BD-4A8C-B252-208C4EEC6E00}" vid="{F12CDBBA-5821-4B47-80F9-5CAEB4A048D0}"/>
    </a:ext>
  </a:extLst>
</a:theme>
</file>

<file path=ppt/theme/theme6.xml><?xml version="1.0" encoding="utf-8"?>
<a:theme xmlns:a="http://schemas.openxmlformats.org/drawingml/2006/main" name="3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7.xml><?xml version="1.0" encoding="utf-8"?>
<a:theme xmlns:a="http://schemas.openxmlformats.org/drawingml/2006/main" name="4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8.xml><?xml version="1.0" encoding="utf-8"?>
<a:theme xmlns:a="http://schemas.openxmlformats.org/drawingml/2006/main" name="1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9.xml><?xml version="1.0" encoding="utf-8"?>
<a:theme xmlns:a="http://schemas.openxmlformats.org/drawingml/2006/main" name="5-30721_Build_2016_Template_Dark">
  <a:themeElements>
    <a:clrScheme name="Build 2016 Dark">
      <a:dk1>
        <a:srgbClr val="505050"/>
      </a:dk1>
      <a:lt1>
        <a:srgbClr val="FFFFFF"/>
      </a:lt1>
      <a:dk2>
        <a:srgbClr val="0078D7"/>
      </a:dk2>
      <a:lt2>
        <a:srgbClr val="F8F8F8"/>
      </a:lt2>
      <a:accent1>
        <a:srgbClr val="00BCF2"/>
      </a:accent1>
      <a:accent2>
        <a:srgbClr val="0078D7"/>
      </a:accent2>
      <a:accent3>
        <a:srgbClr val="002050"/>
      </a:accent3>
      <a:accent4>
        <a:srgbClr val="D2D2D2"/>
      </a:accent4>
      <a:accent5>
        <a:srgbClr val="737373"/>
      </a:accent5>
      <a:accent6>
        <a:srgbClr val="323232"/>
      </a:accent6>
      <a:hlink>
        <a:srgbClr val="5DDCFF"/>
      </a:hlink>
      <a:folHlink>
        <a:srgbClr val="5DDCFF"/>
      </a:folHlink>
    </a:clrScheme>
    <a:fontScheme name="Custom 2">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6_16x9_Template.potx" id="{2D9F1654-7A66-4699-829C-201E10216A69}" vid="{EE767E89-5D4D-44CA-8070-C9EE1D87F83B}"/>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D5EBCFBDA0FD184E94E44C13F9E095D8" ma:contentTypeVersion="12" ma:contentTypeDescription="Create a new document." ma:contentTypeScope="" ma:versionID="5e3f1d3c9ed3b9de7fb53638c95c2f7f">
  <xsd:schema xmlns:xsd="http://www.w3.org/2001/XMLSchema" xmlns:xs="http://www.w3.org/2001/XMLSchema" xmlns:p="http://schemas.microsoft.com/office/2006/metadata/properties" xmlns:ns2="14cf87b9-506c-4eb7-bdeb-55290b0635a3" xmlns:ns3="7c45f18c-b2ec-4e3b-9613-4a8f6bc85080" targetNamespace="http://schemas.microsoft.com/office/2006/metadata/properties" ma:root="true" ma:fieldsID="1604612eaac55e51d7e29e9e4d8fcd78" ns2:_="" ns3:_="">
    <xsd:import namespace="14cf87b9-506c-4eb7-bdeb-55290b0635a3"/>
    <xsd:import namespace="7c45f18c-b2ec-4e3b-9613-4a8f6bc85080"/>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ServiceLocation" minOccurs="0"/>
                <xsd:element ref="ns3:MediaServiceAutoTags" minOccurs="0"/>
                <xsd:element ref="ns3:MediaServiceOCR" minOccurs="0"/>
                <xsd:element ref="ns2:LastSharedByUser" minOccurs="0"/>
                <xsd:element ref="ns2:LastSharedByTime" minOccurs="0"/>
                <xsd:element ref="ns3:MediaServiceEventHashCode" minOccurs="0"/>
                <xsd:element ref="ns3:MediaServiceGeneration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4cf87b9-506c-4eb7-bdeb-55290b0635a3"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6" nillable="true" ma:displayName="Last Shared By User" ma:hidden="true" ma:internalName="LastSharedByUser" ma:readOnly="true">
      <xsd:simpleType>
        <xsd:restriction base="dms:Note"/>
      </xsd:simpleType>
    </xsd:element>
    <xsd:element name="LastSharedByTime" ma:index="17" nillable="true" ma:displayName="Last Shared By Time" ma:hidden="true"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7c45f18c-b2ec-4e3b-9613-4a8f6bc85080" elementFormDefault="qualified">
    <xsd:import namespace="http://schemas.microsoft.com/office/2006/documentManagement/types"/>
    <xsd:import namespace="http://schemas.microsoft.com/office/infopath/2007/PartnerControls"/>
    <xsd:element name="MediaServiceMetadata" ma:index="10" nillable="true" ma:displayName="MediaServiceMetadata" ma:description="" ma:hidden="true" ma:internalName="MediaServiceMetadata" ma:readOnly="true">
      <xsd:simpleType>
        <xsd:restriction base="dms:Note"/>
      </xsd:simpleType>
    </xsd:element>
    <xsd:element name="MediaServiceFastMetadata" ma:index="11" nillable="true" ma:displayName="MediaServiceFastMetadata" ma:description="" ma:hidden="true" ma:internalName="MediaServiceFastMetadata" ma:readOnly="true">
      <xsd:simpleType>
        <xsd:restriction base="dms:Note"/>
      </xsd:simpleType>
    </xsd:element>
    <xsd:element name="MediaServiceDateTaken" ma:index="12" nillable="true" ma:displayName="MediaServiceDateTaken" ma:description="" ma:hidden="true" ma:internalName="MediaServiceDateTaken" ma:readOnly="true">
      <xsd:simpleType>
        <xsd:restriction base="dms:Text"/>
      </xsd:simpleType>
    </xsd:element>
    <xsd:element name="MediaServiceLocation" ma:index="13" nillable="true" ma:displayName="MediaServiceLocation" ma:description="" ma:internalName="MediaServiceLocation" ma:readOnly="true">
      <xsd:simpleType>
        <xsd:restriction base="dms:Text"/>
      </xsd:simpleType>
    </xsd:element>
    <xsd:element name="MediaServiceAutoTags" ma:index="14" nillable="true" ma:displayName="MediaServiceAutoTags" ma:internalName="MediaServiceAutoTags" ma:readOnly="true">
      <xsd:simpleType>
        <xsd:restriction base="dms:Text"/>
      </xsd:simpleType>
    </xsd:element>
    <xsd:element name="MediaServiceOCR" ma:index="15" nillable="true" ma:displayName="MediaServiceOCR" ma:internalName="MediaServiceOCR" ma:readOnly="true">
      <xsd:simpleType>
        <xsd:restriction base="dms:Note">
          <xsd:maxLength value="255"/>
        </xsd:restriction>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GenerationTime" ma:index="19" nillable="true" ma:displayName="MediaServiceGenerationTime" ma:hidden="true" ma:internalName="MediaServiceGenerationTim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990F116-B58F-4255-B05B-DA3808E0E5C6}">
  <ds:schemaRefs>
    <ds:schemaRef ds:uri="http://schemas.microsoft.com/office/infopath/2007/PartnerControls"/>
    <ds:schemaRef ds:uri="14cf87b9-506c-4eb7-bdeb-55290b0635a3"/>
    <ds:schemaRef ds:uri="http://purl.org/dc/elements/1.1/"/>
    <ds:schemaRef ds:uri="http://schemas.microsoft.com/office/2006/metadata/properties"/>
    <ds:schemaRef ds:uri="http://purl.org/dc/terms/"/>
    <ds:schemaRef ds:uri="7c45f18c-b2ec-4e3b-9613-4a8f6bc85080"/>
    <ds:schemaRef ds:uri="http://schemas.microsoft.com/office/2006/documentManagement/types"/>
    <ds:schemaRef ds:uri="http://schemas.openxmlformats.org/package/2006/metadata/core-properties"/>
    <ds:schemaRef ds:uri="http://www.w3.org/XML/1998/namespace"/>
    <ds:schemaRef ds:uri="http://purl.org/dc/dcmitype/"/>
  </ds:schemaRefs>
</ds:datastoreItem>
</file>

<file path=customXml/itemProps2.xml><?xml version="1.0" encoding="utf-8"?>
<ds:datastoreItem xmlns:ds="http://schemas.openxmlformats.org/officeDocument/2006/customXml" ds:itemID="{03AE0A36-D259-4E67-853A-9939A145BE9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4cf87b9-506c-4eb7-bdeb-55290b0635a3"/>
    <ds:schemaRef ds:uri="7c45f18c-b2ec-4e3b-9613-4a8f6bc8508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Microsoft_Ready_Breakout_Template</Template>
  <TotalTime>13738</TotalTime>
  <Words>1177</Words>
  <Application>Microsoft Office PowerPoint</Application>
  <PresentationFormat>Widescreen</PresentationFormat>
  <Paragraphs>173</Paragraphs>
  <Slides>16</Slides>
  <Notes>16</Notes>
  <HiddenSlides>2</HiddenSlides>
  <MMClips>0</MMClips>
  <ScaleCrop>false</ScaleCrop>
  <HeadingPairs>
    <vt:vector size="8" baseType="variant">
      <vt:variant>
        <vt:lpstr>Fonts Used</vt:lpstr>
      </vt:variant>
      <vt:variant>
        <vt:i4>10</vt:i4>
      </vt:variant>
      <vt:variant>
        <vt:lpstr>Theme</vt:lpstr>
      </vt:variant>
      <vt:variant>
        <vt:i4>15</vt:i4>
      </vt:variant>
      <vt:variant>
        <vt:lpstr>Embedded OLE Servers</vt:lpstr>
      </vt:variant>
      <vt:variant>
        <vt:i4>1</vt:i4>
      </vt:variant>
      <vt:variant>
        <vt:lpstr>Slide Titles</vt:lpstr>
      </vt:variant>
      <vt:variant>
        <vt:i4>16</vt:i4>
      </vt:variant>
    </vt:vector>
  </HeadingPairs>
  <TitlesOfParts>
    <vt:vector size="42" baseType="lpstr">
      <vt:lpstr>-apple-system</vt:lpstr>
      <vt:lpstr>Arial</vt:lpstr>
      <vt:lpstr>Calibri</vt:lpstr>
      <vt:lpstr>Consolas</vt:lpstr>
      <vt:lpstr>Courier New</vt:lpstr>
      <vt:lpstr>Segoe UI</vt:lpstr>
      <vt:lpstr>Segoe UI Light</vt:lpstr>
      <vt:lpstr>Segoe UI Semibold</vt:lpstr>
      <vt:lpstr>Segoe UI Semilight</vt:lpstr>
      <vt:lpstr>Wingdings</vt:lpstr>
      <vt:lpstr>5-50201_Microsoft_Ready_Template</vt:lpstr>
      <vt:lpstr>2018 Architect Boot Camp</vt:lpstr>
      <vt:lpstr>C+E Readiness Template</vt:lpstr>
      <vt:lpstr>WWC EMPTY</vt:lpstr>
      <vt:lpstr>1_C+E Readiness Template</vt:lpstr>
      <vt:lpstr>3_WHITE TEMPLATE</vt:lpstr>
      <vt:lpstr>4_WHITE TEMPLATE</vt:lpstr>
      <vt:lpstr>1_WHITE TEMPLATE</vt:lpstr>
      <vt:lpstr>5-30721_Build_2016_Template_Dark</vt:lpstr>
      <vt:lpstr>FY15 Enterprise identity theme</vt:lpstr>
      <vt:lpstr>2_COLOR TEMPLATE</vt:lpstr>
      <vt:lpstr>6-30537_Envision 2016 Keynote Template</vt:lpstr>
      <vt:lpstr>2_2018 Architect Boot Camp</vt:lpstr>
      <vt:lpstr>5_WHITE TEMPLATE</vt:lpstr>
      <vt:lpstr>1_5-50033_TR23_BO_CT_Template</vt:lpstr>
      <vt:lpstr>think-cell Slide</vt:lpstr>
      <vt:lpstr>Day 2</vt:lpstr>
      <vt:lpstr>8:30-9:45 LUIS</vt:lpstr>
      <vt:lpstr>Welcome Back!!</vt:lpstr>
      <vt:lpstr>LUIS</vt:lpstr>
      <vt:lpstr>Why NLU?</vt:lpstr>
      <vt:lpstr>Microsoft's Language Understanding Intelligent Service (LUIS)</vt:lpstr>
      <vt:lpstr>Developing LUIS Models</vt:lpstr>
      <vt:lpstr>Key LUIS concepts</vt:lpstr>
      <vt:lpstr>Key LUIS concepts</vt:lpstr>
      <vt:lpstr>Training and testing your model</vt:lpstr>
      <vt:lpstr>Publishing your model</vt:lpstr>
      <vt:lpstr>Adding features to improve performance</vt:lpstr>
      <vt:lpstr>Adding patterns to improve performance</vt:lpstr>
      <vt:lpstr>Using active learning</vt:lpstr>
      <vt:lpstr> 9-9:45AM  https://github.com/Azure/LearnAI-Airlift   and check out my blog if you finish early   https://aka.ms/luis-notes   </vt:lpstr>
      <vt:lpstr>PowerPoint Presentation</vt:lpstr>
    </vt:vector>
  </TitlesOfParts>
  <Manager>&lt;Comms manager name here&gt;</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is template is meant to be used for content that  is shareable with Microsoft Partners and vendors.  Please do not use this template if your content  is confidential to Microsoft FTE.</dc:title>
  <dc:subject>Microsoft Ready</dc:subject>
  <dc:creator>Anna Thomas</dc:creator>
  <cp:keywords>Microsoft Ready</cp:keywords>
  <dc:description/>
  <cp:lastModifiedBy>Anna Thomas</cp:lastModifiedBy>
  <cp:revision>5</cp:revision>
  <dcterms:created xsi:type="dcterms:W3CDTF">2018-06-29T11:43:45Z</dcterms:created>
  <dcterms:modified xsi:type="dcterms:W3CDTF">2018-11-26T22:03:13Z</dcterms:modified>
  <cp:category>Microsoft Ready</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5EBCFBDA0FD184E94E44C13F9E095D8</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62;#Las Vegas|e731b1e0-234c-4781-a780-e65aa36c0b98</vt:lpwstr>
  </property>
  <property fmtid="{D5CDD505-2E9C-101B-9397-08002B2CF9AE}" pid="9" name="Campaign">
    <vt:lpwstr/>
  </property>
  <property fmtid="{D5CDD505-2E9C-101B-9397-08002B2CF9AE}" pid="10" name="IsMyDocuments">
    <vt:bool>true</vt:bool>
  </property>
  <property fmtid="{D5CDD505-2E9C-101B-9397-08002B2CF9AE}" pid="11" name="MSIP_Label_f42aa342-8706-4288-bd11-ebb85995028c_Enabled">
    <vt:lpwstr>True</vt:lpwstr>
  </property>
  <property fmtid="{D5CDD505-2E9C-101B-9397-08002B2CF9AE}" pid="12" name="MSIP_Label_f42aa342-8706-4288-bd11-ebb85995028c_SiteId">
    <vt:lpwstr>72f988bf-86f1-41af-91ab-2d7cd011db47</vt:lpwstr>
  </property>
  <property fmtid="{D5CDD505-2E9C-101B-9397-08002B2CF9AE}" pid="13" name="MSIP_Label_f42aa342-8706-4288-bd11-ebb85995028c_Ref">
    <vt:lpwstr>https://api.informationprotection.azure.com/api/72f988bf-86f1-41af-91ab-2d7cd011db47</vt:lpwstr>
  </property>
  <property fmtid="{D5CDD505-2E9C-101B-9397-08002B2CF9AE}" pid="14" name="MSIP_Label_f42aa342-8706-4288-bd11-ebb85995028c_Owner">
    <vt:lpwstr>maryfj@microsoft.com</vt:lpwstr>
  </property>
  <property fmtid="{D5CDD505-2E9C-101B-9397-08002B2CF9AE}" pid="15" name="MSIP_Label_f42aa342-8706-4288-bd11-ebb85995028c_SetDate">
    <vt:lpwstr>2017-08-29T14:27:20.8568347-07:00</vt:lpwstr>
  </property>
  <property fmtid="{D5CDD505-2E9C-101B-9397-08002B2CF9AE}" pid="16" name="MSIP_Label_f42aa342-8706-4288-bd11-ebb85995028c_Name">
    <vt:lpwstr>General</vt:lpwstr>
  </property>
  <property fmtid="{D5CDD505-2E9C-101B-9397-08002B2CF9AE}" pid="17" name="MSIP_Label_f42aa342-8706-4288-bd11-ebb85995028c_Application">
    <vt:lpwstr>Microsoft Azure Information Protection</vt:lpwstr>
  </property>
  <property fmtid="{D5CDD505-2E9C-101B-9397-08002B2CF9AE}" pid="18" name="MSIP_Label_f42aa342-8706-4288-bd11-ebb85995028c_Extended_MSFT_Method">
    <vt:lpwstr>Automatic</vt:lpwstr>
  </property>
  <property fmtid="{D5CDD505-2E9C-101B-9397-08002B2CF9AE}" pid="19" name="Sensitivity">
    <vt:lpwstr>General</vt:lpwstr>
  </property>
  <property fmtid="{D5CDD505-2E9C-101B-9397-08002B2CF9AE}" pid="20" name="TaxKeyword">
    <vt:lpwstr>16;#Microsoft Ready|3ca26e5f-dc1b-4496-bbb3-9dc6901a235f</vt:lpwstr>
  </property>
  <property fmtid="{D5CDD505-2E9C-101B-9397-08002B2CF9AE}" pid="21" name="Event Name">
    <vt:lpwstr>21;#Microsoft Ready|3ca26e5f-dc1b-4496-bbb3-9dc6901a235f</vt:lpwstr>
  </property>
  <property fmtid="{D5CDD505-2E9C-101B-9397-08002B2CF9AE}" pid="22" name="Audience1">
    <vt:lpwstr/>
  </property>
</Properties>
</file>